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733" r:id="rId5"/>
  </p:sldMasterIdLst>
  <p:notesMasterIdLst>
    <p:notesMasterId r:id="rId39"/>
  </p:notesMasterIdLst>
  <p:handoutMasterIdLst>
    <p:handoutMasterId r:id="rId40"/>
  </p:handoutMasterIdLst>
  <p:sldIdLst>
    <p:sldId id="2141411536" r:id="rId6"/>
    <p:sldId id="2147474229" r:id="rId7"/>
    <p:sldId id="2147473955" r:id="rId8"/>
    <p:sldId id="2147471878" r:id="rId9"/>
    <p:sldId id="2147048269" r:id="rId10"/>
    <p:sldId id="2147473944" r:id="rId11"/>
    <p:sldId id="2147047744" r:id="rId12"/>
    <p:sldId id="2147470393" r:id="rId13"/>
    <p:sldId id="2147470372" r:id="rId14"/>
    <p:sldId id="2147470371" r:id="rId15"/>
    <p:sldId id="2147470416" r:id="rId16"/>
    <p:sldId id="2147470417" r:id="rId17"/>
    <p:sldId id="2147470418" r:id="rId18"/>
    <p:sldId id="2147470419" r:id="rId19"/>
    <p:sldId id="2147470421" r:id="rId20"/>
    <p:sldId id="2147470422" r:id="rId21"/>
    <p:sldId id="2147470423" r:id="rId22"/>
    <p:sldId id="2147470426" r:id="rId23"/>
    <p:sldId id="2141411585" r:id="rId24"/>
    <p:sldId id="2147470414" r:id="rId25"/>
    <p:sldId id="2147474227" r:id="rId26"/>
    <p:sldId id="2147473948" r:id="rId27"/>
    <p:sldId id="2147473949" r:id="rId28"/>
    <p:sldId id="2147473954" r:id="rId29"/>
    <p:sldId id="2147473952" r:id="rId30"/>
    <p:sldId id="2147473951" r:id="rId31"/>
    <p:sldId id="2147473953" r:id="rId32"/>
    <p:sldId id="2145705931" r:id="rId33"/>
    <p:sldId id="2145705926" r:id="rId34"/>
    <p:sldId id="2147474228" r:id="rId35"/>
    <p:sldId id="2145705933" r:id="rId36"/>
    <p:sldId id="2141411562" r:id="rId37"/>
    <p:sldId id="2147474230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38A30063-BFA9-4A94-A265-A7789F8929AC}">
          <p14:sldIdLst>
            <p14:sldId id="2141411536"/>
            <p14:sldId id="2147474229"/>
            <p14:sldId id="2147473955"/>
            <p14:sldId id="2147471878"/>
            <p14:sldId id="2147048269"/>
            <p14:sldId id="2147473944"/>
            <p14:sldId id="2147047744"/>
            <p14:sldId id="2147470393"/>
            <p14:sldId id="2147470372"/>
            <p14:sldId id="2147470371"/>
            <p14:sldId id="2147470416"/>
            <p14:sldId id="2147470417"/>
            <p14:sldId id="2147470418"/>
            <p14:sldId id="2147470419"/>
            <p14:sldId id="2147470421"/>
            <p14:sldId id="2147470422"/>
            <p14:sldId id="2147470423"/>
            <p14:sldId id="2147470426"/>
            <p14:sldId id="2141411585"/>
            <p14:sldId id="2147470414"/>
            <p14:sldId id="2147474227"/>
            <p14:sldId id="2147473948"/>
            <p14:sldId id="2147473949"/>
            <p14:sldId id="2147473954"/>
            <p14:sldId id="2147473952"/>
            <p14:sldId id="2147473951"/>
            <p14:sldId id="2147473953"/>
            <p14:sldId id="2145705931"/>
            <p14:sldId id="2145705926"/>
            <p14:sldId id="2147474228"/>
            <p14:sldId id="2145705933"/>
            <p14:sldId id="2141411562"/>
            <p14:sldId id="21474742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0" userDrawn="1">
          <p15:clr>
            <a:srgbClr val="A4A3A4"/>
          </p15:clr>
        </p15:guide>
        <p15:guide id="2" pos="7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lden, Tor" initials="MT" lastIdx="6" clrIdx="0">
    <p:extLst>
      <p:ext uri="{19B8F6BF-5375-455C-9EA6-DF929625EA0E}">
        <p15:presenceInfo xmlns:p15="http://schemas.microsoft.com/office/powerpoint/2012/main" userId="S::MOLDET@pfizer.com::700f9147-37fb-4d23-8036-e0ec23fa42be" providerId="AD"/>
      </p:ext>
    </p:extLst>
  </p:cmAuthor>
  <p:cmAuthor id="2" name="kesik, cagla" initials="kc" lastIdx="54" clrIdx="1">
    <p:extLst>
      <p:ext uri="{19B8F6BF-5375-455C-9EA6-DF929625EA0E}">
        <p15:presenceInfo xmlns:p15="http://schemas.microsoft.com/office/powerpoint/2012/main" userId="S::KESIKC@pfizer.com::1584c998-0ea2-4060-895b-d01a9d3826c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993300"/>
    <a:srgbClr val="F49C30"/>
    <a:srgbClr val="FF7900"/>
    <a:srgbClr val="5C2A34"/>
    <a:srgbClr val="FF2F92"/>
    <a:srgbClr val="C95970"/>
    <a:srgbClr val="BF556A"/>
    <a:srgbClr val="DD627B"/>
    <a:srgbClr val="AB4C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6D4C1C-927C-4363-ADA2-D0C311F1078F}" v="218" dt="2022-12-08T09:10:50.2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344D84-9AFB-497E-A393-DC336BA19D2E}" styleName="Styl pośredni 3 — Ak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77" autoAdjust="0"/>
    <p:restoredTop sz="94228" autoAdjust="0"/>
  </p:normalViewPr>
  <p:slideViewPr>
    <p:cSldViewPr snapToGrid="0">
      <p:cViewPr varScale="1">
        <p:scale>
          <a:sx n="107" d="100"/>
          <a:sy n="107" d="100"/>
        </p:scale>
        <p:origin x="774" y="114"/>
      </p:cViewPr>
      <p:guideLst>
        <p:guide orient="horz" pos="360"/>
        <p:guide pos="73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413"/>
    </p:cViewPr>
  </p:sorterViewPr>
  <p:notesViewPr>
    <p:cSldViewPr snapToGrid="0">
      <p:cViewPr varScale="1">
        <p:scale>
          <a:sx n="94" d="100"/>
          <a:sy n="94" d="100"/>
        </p:scale>
        <p:origin x="375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microsoft.com/office/2016/11/relationships/changesInfo" Target="changesInfos/changesInfo1.xml"/><Relationship Id="rId20" Type="http://schemas.openxmlformats.org/officeDocument/2006/relationships/slide" Target="slides/slide15.xml"/><Relationship Id="rId41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t, Urszula" userId="2a6be684-0ce0-42e4-a93c-6ee6cc224c18" providerId="ADAL" clId="{0A6D4C1C-927C-4363-ADA2-D0C311F1078F}"/>
    <pc:docChg chg="undo redo custSel addSld delSld modSld sldOrd delSection modSection">
      <pc:chgData name="Sot, Urszula" userId="2a6be684-0ce0-42e4-a93c-6ee6cc224c18" providerId="ADAL" clId="{0A6D4C1C-927C-4363-ADA2-D0C311F1078F}" dt="2022-12-08T09:10:57.521" v="5322" actId="207"/>
      <pc:docMkLst>
        <pc:docMk/>
      </pc:docMkLst>
      <pc:sldChg chg="del">
        <pc:chgData name="Sot, Urszula" userId="2a6be684-0ce0-42e4-a93c-6ee6cc224c18" providerId="ADAL" clId="{0A6D4C1C-927C-4363-ADA2-D0C311F1078F}" dt="2022-12-07T10:49:32.910" v="1966"/>
        <pc:sldMkLst>
          <pc:docMk/>
          <pc:sldMk cId="0" sldId="256"/>
        </pc:sldMkLst>
      </pc:sldChg>
      <pc:sldChg chg="del">
        <pc:chgData name="Sot, Urszula" userId="2a6be684-0ce0-42e4-a93c-6ee6cc224c18" providerId="ADAL" clId="{0A6D4C1C-927C-4363-ADA2-D0C311F1078F}" dt="2022-12-08T08:49:32.078" v="4946" actId="2696"/>
        <pc:sldMkLst>
          <pc:docMk/>
          <pc:sldMk cId="3186442235" sldId="256"/>
        </pc:sldMkLst>
      </pc:sldChg>
      <pc:sldChg chg="del">
        <pc:chgData name="Sot, Urszula" userId="2a6be684-0ce0-42e4-a93c-6ee6cc224c18" providerId="ADAL" clId="{0A6D4C1C-927C-4363-ADA2-D0C311F1078F}" dt="2022-12-08T08:49:34.229" v="4947" actId="2696"/>
        <pc:sldMkLst>
          <pc:docMk/>
          <pc:sldMk cId="1462918091" sldId="257"/>
        </pc:sldMkLst>
      </pc:sldChg>
      <pc:sldChg chg="del">
        <pc:chgData name="Sot, Urszula" userId="2a6be684-0ce0-42e4-a93c-6ee6cc224c18" providerId="ADAL" clId="{0A6D4C1C-927C-4363-ADA2-D0C311F1078F}" dt="2022-12-08T08:49:36.799" v="4948" actId="2696"/>
        <pc:sldMkLst>
          <pc:docMk/>
          <pc:sldMk cId="2997781906" sldId="258"/>
        </pc:sldMkLst>
      </pc:sldChg>
      <pc:sldChg chg="del">
        <pc:chgData name="Sot, Urszula" userId="2a6be684-0ce0-42e4-a93c-6ee6cc224c18" providerId="ADAL" clId="{0A6D4C1C-927C-4363-ADA2-D0C311F1078F}" dt="2022-12-08T08:49:38.891" v="4949" actId="2696"/>
        <pc:sldMkLst>
          <pc:docMk/>
          <pc:sldMk cId="125256438" sldId="259"/>
        </pc:sldMkLst>
      </pc:sldChg>
      <pc:sldChg chg="del">
        <pc:chgData name="Sot, Urszula" userId="2a6be684-0ce0-42e4-a93c-6ee6cc224c18" providerId="ADAL" clId="{0A6D4C1C-927C-4363-ADA2-D0C311F1078F}" dt="2022-12-08T08:49:40.871" v="4950" actId="2696"/>
        <pc:sldMkLst>
          <pc:docMk/>
          <pc:sldMk cId="4144067250" sldId="260"/>
        </pc:sldMkLst>
      </pc:sldChg>
      <pc:sldChg chg="del">
        <pc:chgData name="Sot, Urszula" userId="2a6be684-0ce0-42e4-a93c-6ee6cc224c18" providerId="ADAL" clId="{0A6D4C1C-927C-4363-ADA2-D0C311F1078F}" dt="2022-12-02T11:48:45.912" v="152" actId="2696"/>
        <pc:sldMkLst>
          <pc:docMk/>
          <pc:sldMk cId="3705785179" sldId="267"/>
        </pc:sldMkLst>
      </pc:sldChg>
      <pc:sldChg chg="addSp delSp modSp del mod">
        <pc:chgData name="Sot, Urszula" userId="2a6be684-0ce0-42e4-a93c-6ee6cc224c18" providerId="ADAL" clId="{0A6D4C1C-927C-4363-ADA2-D0C311F1078F}" dt="2022-12-08T09:00:38.230" v="5296" actId="2696"/>
        <pc:sldMkLst>
          <pc:docMk/>
          <pc:sldMk cId="1699048304" sldId="268"/>
        </pc:sldMkLst>
        <pc:spChg chg="del mod">
          <ac:chgData name="Sot, Urszula" userId="2a6be684-0ce0-42e4-a93c-6ee6cc224c18" providerId="ADAL" clId="{0A6D4C1C-927C-4363-ADA2-D0C311F1078F}" dt="2022-12-07T18:39:54.285" v="4042" actId="21"/>
          <ac:spMkLst>
            <pc:docMk/>
            <pc:sldMk cId="1699048304" sldId="268"/>
            <ac:spMk id="2" creationId="{283CC3FF-D5ED-434E-BAB9-8F85D31C2E58}"/>
          </ac:spMkLst>
        </pc:spChg>
        <pc:spChg chg="add mod">
          <ac:chgData name="Sot, Urszula" userId="2a6be684-0ce0-42e4-a93c-6ee6cc224c18" providerId="ADAL" clId="{0A6D4C1C-927C-4363-ADA2-D0C311F1078F}" dt="2022-12-08T08:58:57.016" v="5282" actId="1076"/>
          <ac:spMkLst>
            <pc:docMk/>
            <pc:sldMk cId="1699048304" sldId="268"/>
            <ac:spMk id="2" creationId="{C490837E-BCC8-4C54-B84B-6F6DEA454579}"/>
          </ac:spMkLst>
        </pc:spChg>
        <pc:spChg chg="del mod">
          <ac:chgData name="Sot, Urszula" userId="2a6be684-0ce0-42e4-a93c-6ee6cc224c18" providerId="ADAL" clId="{0A6D4C1C-927C-4363-ADA2-D0C311F1078F}" dt="2022-12-08T08:55:24.321" v="5265" actId="21"/>
          <ac:spMkLst>
            <pc:docMk/>
            <pc:sldMk cId="1699048304" sldId="268"/>
            <ac:spMk id="3" creationId="{74614713-A278-463D-B368-A5FCBB3DE55D}"/>
          </ac:spMkLst>
        </pc:spChg>
        <pc:spChg chg="del">
          <ac:chgData name="Sot, Urszula" userId="2a6be684-0ce0-42e4-a93c-6ee6cc224c18" providerId="ADAL" clId="{0A6D4C1C-927C-4363-ADA2-D0C311F1078F}" dt="2022-12-07T18:39:51.010" v="4041" actId="21"/>
          <ac:spMkLst>
            <pc:docMk/>
            <pc:sldMk cId="1699048304" sldId="268"/>
            <ac:spMk id="4" creationId="{7506DE29-7205-E246-BFBB-446B28BA7C8B}"/>
          </ac:spMkLst>
        </pc:spChg>
        <pc:spChg chg="add mod">
          <ac:chgData name="Sot, Urszula" userId="2a6be684-0ce0-42e4-a93c-6ee6cc224c18" providerId="ADAL" clId="{0A6D4C1C-927C-4363-ADA2-D0C311F1078F}" dt="2022-12-08T08:58:48.853" v="5281" actId="20577"/>
          <ac:spMkLst>
            <pc:docMk/>
            <pc:sldMk cId="1699048304" sldId="268"/>
            <ac:spMk id="4" creationId="{A63A2EB9-27FB-49BA-A87D-594CECA339F7}"/>
          </ac:spMkLst>
        </pc:spChg>
        <pc:picChg chg="add del mod">
          <ac:chgData name="Sot, Urszula" userId="2a6be684-0ce0-42e4-a93c-6ee6cc224c18" providerId="ADAL" clId="{0A6D4C1C-927C-4363-ADA2-D0C311F1078F}" dt="2022-12-08T08:55:26.206" v="5266" actId="21"/>
          <ac:picMkLst>
            <pc:docMk/>
            <pc:sldMk cId="1699048304" sldId="268"/>
            <ac:picMk id="1026" creationId="{EC79FCC2-0424-40F5-A556-5599D00AE52A}"/>
          </ac:picMkLst>
        </pc:picChg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1923341141" sldId="294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2216404355" sldId="295"/>
        </pc:sldMkLst>
      </pc:sldChg>
      <pc:sldChg chg="modSp del mod ord">
        <pc:chgData name="Sot, Urszula" userId="2a6be684-0ce0-42e4-a93c-6ee6cc224c18" providerId="ADAL" clId="{0A6D4C1C-927C-4363-ADA2-D0C311F1078F}" dt="2022-12-02T14:18:32.940" v="961" actId="2696"/>
        <pc:sldMkLst>
          <pc:docMk/>
          <pc:sldMk cId="678670466" sldId="296"/>
        </pc:sldMkLst>
        <pc:spChg chg="mod">
          <ac:chgData name="Sot, Urszula" userId="2a6be684-0ce0-42e4-a93c-6ee6cc224c18" providerId="ADAL" clId="{0A6D4C1C-927C-4363-ADA2-D0C311F1078F}" dt="2022-12-02T11:42:03.224" v="113"/>
          <ac:spMkLst>
            <pc:docMk/>
            <pc:sldMk cId="678670466" sldId="296"/>
            <ac:spMk id="3" creationId="{6B6CCED8-9542-4E4C-AE4F-18850226CFC0}"/>
          </ac:spMkLst>
        </pc:spChg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1722759221" sldId="298"/>
        </pc:sldMkLst>
      </pc:sldChg>
      <pc:sldChg chg="del">
        <pc:chgData name="Sot, Urszula" userId="2a6be684-0ce0-42e4-a93c-6ee6cc224c18" providerId="ADAL" clId="{0A6D4C1C-927C-4363-ADA2-D0C311F1078F}" dt="2022-12-07T18:26:09.230" v="4015" actId="2696"/>
        <pc:sldMkLst>
          <pc:docMk/>
          <pc:sldMk cId="3074287445" sldId="333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1040023000" sldId="2141411499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2089164021" sldId="2141411500"/>
        </pc:sldMkLst>
      </pc:sldChg>
      <pc:sldChg chg="addSp delSp modSp mod">
        <pc:chgData name="Sot, Urszula" userId="2a6be684-0ce0-42e4-a93c-6ee6cc224c18" providerId="ADAL" clId="{0A6D4C1C-927C-4363-ADA2-D0C311F1078F}" dt="2022-12-08T09:10:38.532" v="5319" actId="1076"/>
        <pc:sldMkLst>
          <pc:docMk/>
          <pc:sldMk cId="4033975324" sldId="2141411536"/>
        </pc:sldMkLst>
        <pc:spChg chg="mod">
          <ac:chgData name="Sot, Urszula" userId="2a6be684-0ce0-42e4-a93c-6ee6cc224c18" providerId="ADAL" clId="{0A6D4C1C-927C-4363-ADA2-D0C311F1078F}" dt="2022-12-07T19:12:23.936" v="4510" actId="1076"/>
          <ac:spMkLst>
            <pc:docMk/>
            <pc:sldMk cId="4033975324" sldId="2141411536"/>
            <ac:spMk id="2" creationId="{5F0A3542-3228-49BE-B85D-A7F2B16766F5}"/>
          </ac:spMkLst>
        </pc:spChg>
        <pc:spChg chg="add mod">
          <ac:chgData name="Sot, Urszula" userId="2a6be684-0ce0-42e4-a93c-6ee6cc224c18" providerId="ADAL" clId="{0A6D4C1C-927C-4363-ADA2-D0C311F1078F}" dt="2022-12-08T09:10:38.532" v="5319" actId="1076"/>
          <ac:spMkLst>
            <pc:docMk/>
            <pc:sldMk cId="4033975324" sldId="2141411536"/>
            <ac:spMk id="3" creationId="{A154C94D-DCDF-4E8F-AFC1-4DCCEEEBCF3E}"/>
          </ac:spMkLst>
        </pc:spChg>
        <pc:spChg chg="mod">
          <ac:chgData name="Sot, Urszula" userId="2a6be684-0ce0-42e4-a93c-6ee6cc224c18" providerId="ADAL" clId="{0A6D4C1C-927C-4363-ADA2-D0C311F1078F}" dt="2022-12-02T11:36:08.757" v="59" actId="1076"/>
          <ac:spMkLst>
            <pc:docMk/>
            <pc:sldMk cId="4033975324" sldId="2141411536"/>
            <ac:spMk id="4" creationId="{54634E1D-32D4-4A87-9CA9-E539FFC44548}"/>
          </ac:spMkLst>
        </pc:spChg>
        <pc:spChg chg="del">
          <ac:chgData name="Sot, Urszula" userId="2a6be684-0ce0-42e4-a93c-6ee6cc224c18" providerId="ADAL" clId="{0A6D4C1C-927C-4363-ADA2-D0C311F1078F}" dt="2022-12-02T11:35:36.511" v="55" actId="21"/>
          <ac:spMkLst>
            <pc:docMk/>
            <pc:sldMk cId="4033975324" sldId="2141411536"/>
            <ac:spMk id="5" creationId="{6937736B-FCD5-BD40-8F03-143C7FF8B6A6}"/>
          </ac:spMkLst>
        </pc:spChg>
      </pc:sldChg>
      <pc:sldChg chg="del">
        <pc:chgData name="Sot, Urszula" userId="2a6be684-0ce0-42e4-a93c-6ee6cc224c18" providerId="ADAL" clId="{0A6D4C1C-927C-4363-ADA2-D0C311F1078F}" dt="2022-12-07T18:28:06.910" v="4017" actId="2696"/>
        <pc:sldMkLst>
          <pc:docMk/>
          <pc:sldMk cId="2584607529" sldId="2141411582"/>
        </pc:sldMkLst>
      </pc:sldChg>
      <pc:sldChg chg="addSp delSp modSp mod">
        <pc:chgData name="Sot, Urszula" userId="2a6be684-0ce0-42e4-a93c-6ee6cc224c18" providerId="ADAL" clId="{0A6D4C1C-927C-4363-ADA2-D0C311F1078F}" dt="2022-12-07T19:21:30.421" v="4559"/>
        <pc:sldMkLst>
          <pc:docMk/>
          <pc:sldMk cId="890977857" sldId="2141411585"/>
        </pc:sldMkLst>
        <pc:spChg chg="mod">
          <ac:chgData name="Sot, Urszula" userId="2a6be684-0ce0-42e4-a93c-6ee6cc224c18" providerId="ADAL" clId="{0A6D4C1C-927C-4363-ADA2-D0C311F1078F}" dt="2022-12-07T15:28:42.002" v="3694" actId="6549"/>
          <ac:spMkLst>
            <pc:docMk/>
            <pc:sldMk cId="890977857" sldId="2141411585"/>
            <ac:spMk id="2" creationId="{F4EE0ADB-6DEB-43AF-83D8-EF6D73907582}"/>
          </ac:spMkLst>
        </pc:spChg>
        <pc:spChg chg="del">
          <ac:chgData name="Sot, Urszula" userId="2a6be684-0ce0-42e4-a93c-6ee6cc224c18" providerId="ADAL" clId="{0A6D4C1C-927C-4363-ADA2-D0C311F1078F}" dt="2022-12-07T15:27:42.190" v="3658" actId="21"/>
          <ac:spMkLst>
            <pc:docMk/>
            <pc:sldMk cId="890977857" sldId="2141411585"/>
            <ac:spMk id="3" creationId="{14F36E54-AC30-8B45-AE8A-9F69371A253E}"/>
          </ac:spMkLst>
        </pc:spChg>
        <pc:spChg chg="del">
          <ac:chgData name="Sot, Urszula" userId="2a6be684-0ce0-42e4-a93c-6ee6cc224c18" providerId="ADAL" clId="{0A6D4C1C-927C-4363-ADA2-D0C311F1078F}" dt="2022-12-07T15:31:09.391" v="3706" actId="21"/>
          <ac:spMkLst>
            <pc:docMk/>
            <pc:sldMk cId="890977857" sldId="2141411585"/>
            <ac:spMk id="4" creationId="{B734DD84-5A3F-6C48-A954-D14616099DFD}"/>
          </ac:spMkLst>
        </pc:spChg>
        <pc:spChg chg="del">
          <ac:chgData name="Sot, Urszula" userId="2a6be684-0ce0-42e4-a93c-6ee6cc224c18" providerId="ADAL" clId="{0A6D4C1C-927C-4363-ADA2-D0C311F1078F}" dt="2022-12-07T15:26:43.849" v="3653" actId="21"/>
          <ac:spMkLst>
            <pc:docMk/>
            <pc:sldMk cId="890977857" sldId="2141411585"/>
            <ac:spMk id="5" creationId="{80904930-08C1-42A4-BC15-75CAB58D91D9}"/>
          </ac:spMkLst>
        </pc:spChg>
        <pc:spChg chg="mod">
          <ac:chgData name="Sot, Urszula" userId="2a6be684-0ce0-42e4-a93c-6ee6cc224c18" providerId="ADAL" clId="{0A6D4C1C-927C-4363-ADA2-D0C311F1078F}" dt="2022-12-07T15:31:06.009" v="3705"/>
          <ac:spMkLst>
            <pc:docMk/>
            <pc:sldMk cId="890977857" sldId="2141411585"/>
            <ac:spMk id="12" creationId="{5D267F00-D56A-8142-B94C-97220F8F145A}"/>
          </ac:spMkLst>
        </pc:spChg>
        <pc:spChg chg="del">
          <ac:chgData name="Sot, Urszula" userId="2a6be684-0ce0-42e4-a93c-6ee6cc224c18" providerId="ADAL" clId="{0A6D4C1C-927C-4363-ADA2-D0C311F1078F}" dt="2022-12-07T15:26:33.885" v="3651" actId="21"/>
          <ac:spMkLst>
            <pc:docMk/>
            <pc:sldMk cId="890977857" sldId="2141411585"/>
            <ac:spMk id="16" creationId="{5965FF04-9939-3E68-691A-DE9979CE8337}"/>
          </ac:spMkLst>
        </pc:spChg>
        <pc:spChg chg="add mod ord">
          <ac:chgData name="Sot, Urszula" userId="2a6be684-0ce0-42e4-a93c-6ee6cc224c18" providerId="ADAL" clId="{0A6D4C1C-927C-4363-ADA2-D0C311F1078F}" dt="2022-12-07T15:28:19.967" v="3676" actId="20577"/>
          <ac:spMkLst>
            <pc:docMk/>
            <pc:sldMk cId="890977857" sldId="2141411585"/>
            <ac:spMk id="23" creationId="{47DB09D9-C7D3-4A9C-941E-7098B538D06B}"/>
          </ac:spMkLst>
        </pc:spChg>
        <pc:spChg chg="add mod">
          <ac:chgData name="Sot, Urszula" userId="2a6be684-0ce0-42e4-a93c-6ee6cc224c18" providerId="ADAL" clId="{0A6D4C1C-927C-4363-ADA2-D0C311F1078F}" dt="2022-12-07T19:10:44.789" v="4443"/>
          <ac:spMkLst>
            <pc:docMk/>
            <pc:sldMk cId="890977857" sldId="2141411585"/>
            <ac:spMk id="24" creationId="{43736828-6ACE-416D-A5D9-216ADEBCA548}"/>
          </ac:spMkLst>
        </pc:spChg>
        <pc:spChg chg="mod">
          <ac:chgData name="Sot, Urszula" userId="2a6be684-0ce0-42e4-a93c-6ee6cc224c18" providerId="ADAL" clId="{0A6D4C1C-927C-4363-ADA2-D0C311F1078F}" dt="2022-12-07T15:25:47.970" v="3645" actId="208"/>
          <ac:spMkLst>
            <pc:docMk/>
            <pc:sldMk cId="890977857" sldId="2141411585"/>
            <ac:spMk id="25" creationId="{2A81242A-F6EE-4A34-88AC-715B3E75B0C4}"/>
          </ac:spMkLst>
        </pc:spChg>
        <pc:spChg chg="mod">
          <ac:chgData name="Sot, Urszula" userId="2a6be684-0ce0-42e4-a93c-6ee6cc224c18" providerId="ADAL" clId="{0A6D4C1C-927C-4363-ADA2-D0C311F1078F}" dt="2022-12-07T19:21:30.421" v="4559"/>
          <ac:spMkLst>
            <pc:docMk/>
            <pc:sldMk cId="890977857" sldId="2141411585"/>
            <ac:spMk id="27" creationId="{5154F552-1552-49DD-B285-1AA0D2BB5C1C}"/>
          </ac:spMkLst>
        </pc:spChg>
        <pc:spChg chg="mod">
          <ac:chgData name="Sot, Urszula" userId="2a6be684-0ce0-42e4-a93c-6ee6cc224c18" providerId="ADAL" clId="{0A6D4C1C-927C-4363-ADA2-D0C311F1078F}" dt="2022-12-07T19:21:30.421" v="4559"/>
          <ac:spMkLst>
            <pc:docMk/>
            <pc:sldMk cId="890977857" sldId="2141411585"/>
            <ac:spMk id="28" creationId="{FC811B77-4E68-4F98-BE65-E0280F2F55F3}"/>
          </ac:spMkLst>
        </pc:spChg>
        <pc:spChg chg="del mod">
          <ac:chgData name="Sot, Urszula" userId="2a6be684-0ce0-42e4-a93c-6ee6cc224c18" providerId="ADAL" clId="{0A6D4C1C-927C-4363-ADA2-D0C311F1078F}" dt="2022-12-07T15:25:16.167" v="3639" actId="21"/>
          <ac:spMkLst>
            <pc:docMk/>
            <pc:sldMk cId="890977857" sldId="2141411585"/>
            <ac:spMk id="29" creationId="{8E338145-BFE7-4A7F-A171-D3829AE1AB58}"/>
          </ac:spMkLst>
        </pc:spChg>
        <pc:spChg chg="mod">
          <ac:chgData name="Sot, Urszula" userId="2a6be684-0ce0-42e4-a93c-6ee6cc224c18" providerId="ADAL" clId="{0A6D4C1C-927C-4363-ADA2-D0C311F1078F}" dt="2022-12-07T19:21:30.421" v="4559"/>
          <ac:spMkLst>
            <pc:docMk/>
            <pc:sldMk cId="890977857" sldId="2141411585"/>
            <ac:spMk id="30" creationId="{056B4068-B99D-428F-8B06-8906712B8C45}"/>
          </ac:spMkLst>
        </pc:spChg>
        <pc:spChg chg="mod">
          <ac:chgData name="Sot, Urszula" userId="2a6be684-0ce0-42e4-a93c-6ee6cc224c18" providerId="ADAL" clId="{0A6D4C1C-927C-4363-ADA2-D0C311F1078F}" dt="2022-12-07T19:21:30.421" v="4559"/>
          <ac:spMkLst>
            <pc:docMk/>
            <pc:sldMk cId="890977857" sldId="2141411585"/>
            <ac:spMk id="31" creationId="{1E157CFD-A091-4E0A-89E6-92240F9CC6FD}"/>
          </ac:spMkLst>
        </pc:spChg>
        <pc:spChg chg="mod">
          <ac:chgData name="Sot, Urszula" userId="2a6be684-0ce0-42e4-a93c-6ee6cc224c18" providerId="ADAL" clId="{0A6D4C1C-927C-4363-ADA2-D0C311F1078F}" dt="2022-12-07T19:21:30.421" v="4559"/>
          <ac:spMkLst>
            <pc:docMk/>
            <pc:sldMk cId="890977857" sldId="2141411585"/>
            <ac:spMk id="32" creationId="{0416DC47-A0CF-4AB7-903E-C6D292025196}"/>
          </ac:spMkLst>
        </pc:spChg>
        <pc:grpChg chg="add mod">
          <ac:chgData name="Sot, Urszula" userId="2a6be684-0ce0-42e4-a93c-6ee6cc224c18" providerId="ADAL" clId="{0A6D4C1C-927C-4363-ADA2-D0C311F1078F}" dt="2022-12-07T19:21:30.421" v="4559"/>
          <ac:grpSpMkLst>
            <pc:docMk/>
            <pc:sldMk cId="890977857" sldId="2141411585"/>
            <ac:grpSpMk id="26" creationId="{FC26908E-8FF7-420B-B781-19D66DC022A0}"/>
          </ac:grpSpMkLst>
        </pc:grpChg>
        <pc:graphicFrameChg chg="del">
          <ac:chgData name="Sot, Urszula" userId="2a6be684-0ce0-42e4-a93c-6ee6cc224c18" providerId="ADAL" clId="{0A6D4C1C-927C-4363-ADA2-D0C311F1078F}" dt="2022-12-07T15:26:13.895" v="3648" actId="21"/>
          <ac:graphicFrameMkLst>
            <pc:docMk/>
            <pc:sldMk cId="890977857" sldId="2141411585"/>
            <ac:graphicFrameMk id="6" creationId="{085414FE-CE4B-0F68-9236-4AE0F9EC8219}"/>
          </ac:graphicFrameMkLst>
        </pc:graphicFrameChg>
        <pc:picChg chg="del">
          <ac:chgData name="Sot, Urszula" userId="2a6be684-0ce0-42e4-a93c-6ee6cc224c18" providerId="ADAL" clId="{0A6D4C1C-927C-4363-ADA2-D0C311F1078F}" dt="2022-12-07T15:26:47.493" v="3655" actId="21"/>
          <ac:picMkLst>
            <pc:docMk/>
            <pc:sldMk cId="890977857" sldId="2141411585"/>
            <ac:picMk id="7" creationId="{9911D6A2-3E00-1546-871F-FC7F2C49B8E7}"/>
          </ac:picMkLst>
        </pc:picChg>
        <pc:picChg chg="del mod">
          <ac:chgData name="Sot, Urszula" userId="2a6be684-0ce0-42e4-a93c-6ee6cc224c18" providerId="ADAL" clId="{0A6D4C1C-927C-4363-ADA2-D0C311F1078F}" dt="2022-12-07T15:28:13.366" v="3660" actId="21"/>
          <ac:picMkLst>
            <pc:docMk/>
            <pc:sldMk cId="890977857" sldId="2141411585"/>
            <ac:picMk id="8" creationId="{A8914D0C-D156-1FF7-4BD3-90E706A65963}"/>
          </ac:picMkLst>
        </pc:picChg>
        <pc:picChg chg="mod">
          <ac:chgData name="Sot, Urszula" userId="2a6be684-0ce0-42e4-a93c-6ee6cc224c18" providerId="ADAL" clId="{0A6D4C1C-927C-4363-ADA2-D0C311F1078F}" dt="2022-12-07T15:26:00.673" v="3647" actId="207"/>
          <ac:picMkLst>
            <pc:docMk/>
            <pc:sldMk cId="890977857" sldId="2141411585"/>
            <ac:picMk id="9" creationId="{08ECC736-B72B-4CF6-BCC9-A11BE282F50A}"/>
          </ac:picMkLst>
        </pc:picChg>
        <pc:picChg chg="del">
          <ac:chgData name="Sot, Urszula" userId="2a6be684-0ce0-42e4-a93c-6ee6cc224c18" providerId="ADAL" clId="{0A6D4C1C-927C-4363-ADA2-D0C311F1078F}" dt="2022-12-07T15:26:46.298" v="3654" actId="21"/>
          <ac:picMkLst>
            <pc:docMk/>
            <pc:sldMk cId="890977857" sldId="2141411585"/>
            <ac:picMk id="10" creationId="{91C29FA6-F091-7E4C-964C-EAB4DDBAEC6A}"/>
          </ac:picMkLst>
        </pc:picChg>
        <pc:picChg chg="del mod">
          <ac:chgData name="Sot, Urszula" userId="2a6be684-0ce0-42e4-a93c-6ee6cc224c18" providerId="ADAL" clId="{0A6D4C1C-927C-4363-ADA2-D0C311F1078F}" dt="2022-12-07T15:26:35.595" v="3652" actId="21"/>
          <ac:picMkLst>
            <pc:docMk/>
            <pc:sldMk cId="890977857" sldId="2141411585"/>
            <ac:picMk id="11" creationId="{749A082C-15F7-62B5-9B42-2A1B75358B52}"/>
          </ac:picMkLst>
        </pc:picChg>
        <pc:picChg chg="del">
          <ac:chgData name="Sot, Urszula" userId="2a6be684-0ce0-42e4-a93c-6ee6cc224c18" providerId="ADAL" clId="{0A6D4C1C-927C-4363-ADA2-D0C311F1078F}" dt="2022-12-07T15:26:43.849" v="3653" actId="21"/>
          <ac:picMkLst>
            <pc:docMk/>
            <pc:sldMk cId="890977857" sldId="2141411585"/>
            <ac:picMk id="14" creationId="{89E0CDA8-BE24-F4EF-A7CA-850184043435}"/>
          </ac:picMkLst>
        </pc:picChg>
        <pc:picChg chg="del">
          <ac:chgData name="Sot, Urszula" userId="2a6be684-0ce0-42e4-a93c-6ee6cc224c18" providerId="ADAL" clId="{0A6D4C1C-927C-4363-ADA2-D0C311F1078F}" dt="2022-12-07T15:26:43.849" v="3653" actId="21"/>
          <ac:picMkLst>
            <pc:docMk/>
            <pc:sldMk cId="890977857" sldId="2141411585"/>
            <ac:picMk id="15" creationId="{7A568C34-BED2-1443-0EA7-6FC1FA5E5025}"/>
          </ac:picMkLst>
        </pc:picChg>
        <pc:picChg chg="del">
          <ac:chgData name="Sot, Urszula" userId="2a6be684-0ce0-42e4-a93c-6ee6cc224c18" providerId="ADAL" clId="{0A6D4C1C-927C-4363-ADA2-D0C311F1078F}" dt="2022-12-07T15:26:29.070" v="3649" actId="21"/>
          <ac:picMkLst>
            <pc:docMk/>
            <pc:sldMk cId="890977857" sldId="2141411585"/>
            <ac:picMk id="18" creationId="{FEEDAE73-F5BD-5044-99E2-09D7503F1E7B}"/>
          </ac:picMkLst>
        </pc:picChg>
      </pc:sldChg>
      <pc:sldChg chg="del">
        <pc:chgData name="Sot, Urszula" userId="2a6be684-0ce0-42e4-a93c-6ee6cc224c18" providerId="ADAL" clId="{0A6D4C1C-927C-4363-ADA2-D0C311F1078F}" dt="2022-12-02T11:53:19.711" v="185" actId="2696"/>
        <pc:sldMkLst>
          <pc:docMk/>
          <pc:sldMk cId="1226071411" sldId="2141411586"/>
        </pc:sldMkLst>
      </pc:sldChg>
      <pc:sldChg chg="addSp delSp modSp del mod">
        <pc:chgData name="Sot, Urszula" userId="2a6be684-0ce0-42e4-a93c-6ee6cc224c18" providerId="ADAL" clId="{0A6D4C1C-927C-4363-ADA2-D0C311F1078F}" dt="2022-12-07T18:58:12.090" v="4253" actId="2696"/>
        <pc:sldMkLst>
          <pc:docMk/>
          <pc:sldMk cId="1015187180" sldId="2141411603"/>
        </pc:sldMkLst>
        <pc:spChg chg="del">
          <ac:chgData name="Sot, Urszula" userId="2a6be684-0ce0-42e4-a93c-6ee6cc224c18" providerId="ADAL" clId="{0A6D4C1C-927C-4363-ADA2-D0C311F1078F}" dt="2022-12-02T11:47:14.918" v="146" actId="21"/>
          <ac:spMkLst>
            <pc:docMk/>
            <pc:sldMk cId="1015187180" sldId="2141411603"/>
            <ac:spMk id="3" creationId="{430F4B4F-556A-4E64-AC23-6FA508EAFD60}"/>
          </ac:spMkLst>
        </pc:spChg>
        <pc:spChg chg="del">
          <ac:chgData name="Sot, Urszula" userId="2a6be684-0ce0-42e4-a93c-6ee6cc224c18" providerId="ADAL" clId="{0A6D4C1C-927C-4363-ADA2-D0C311F1078F}" dt="2022-12-02T11:47:11.765" v="145" actId="21"/>
          <ac:spMkLst>
            <pc:docMk/>
            <pc:sldMk cId="1015187180" sldId="2141411603"/>
            <ac:spMk id="9" creationId="{652D880A-6E6C-4559-AB5D-8C0C3F98FD2A}"/>
          </ac:spMkLst>
        </pc:spChg>
        <pc:spChg chg="add del">
          <ac:chgData name="Sot, Urszula" userId="2a6be684-0ce0-42e4-a93c-6ee6cc224c18" providerId="ADAL" clId="{0A6D4C1C-927C-4363-ADA2-D0C311F1078F}" dt="2022-12-02T11:47:16.629" v="147" actId="21"/>
          <ac:spMkLst>
            <pc:docMk/>
            <pc:sldMk cId="1015187180" sldId="2141411603"/>
            <ac:spMk id="10" creationId="{9FFDBD55-61C2-4424-93BD-8CF585F4A394}"/>
          </ac:spMkLst>
        </pc:spChg>
        <pc:spChg chg="mod">
          <ac:chgData name="Sot, Urszula" userId="2a6be684-0ce0-42e4-a93c-6ee6cc224c18" providerId="ADAL" clId="{0A6D4C1C-927C-4363-ADA2-D0C311F1078F}" dt="2022-12-02T11:43:40.518" v="142" actId="20577"/>
          <ac:spMkLst>
            <pc:docMk/>
            <pc:sldMk cId="1015187180" sldId="2141411603"/>
            <ac:spMk id="20" creationId="{BADE7EF2-7F9B-45FD-8EF5-2A52AB982418}"/>
          </ac:spMkLst>
        </pc:spChg>
        <pc:graphicFrameChg chg="mod modGraphic">
          <ac:chgData name="Sot, Urszula" userId="2a6be684-0ce0-42e4-a93c-6ee6cc224c18" providerId="ADAL" clId="{0A6D4C1C-927C-4363-ADA2-D0C311F1078F}" dt="2022-12-02T13:46:59.179" v="940" actId="20577"/>
          <ac:graphicFrameMkLst>
            <pc:docMk/>
            <pc:sldMk cId="1015187180" sldId="2141411603"/>
            <ac:graphicFrameMk id="2" creationId="{48DD6F22-1A48-446B-9D02-3BC6FB5DB375}"/>
          </ac:graphicFrameMkLst>
        </pc:graphicFrameChg>
      </pc:sldChg>
      <pc:sldChg chg="del">
        <pc:chgData name="Sot, Urszula" userId="2a6be684-0ce0-42e4-a93c-6ee6cc224c18" providerId="ADAL" clId="{0A6D4C1C-927C-4363-ADA2-D0C311F1078F}" dt="2022-12-02T11:48:56.587" v="156" actId="18676"/>
        <pc:sldMkLst>
          <pc:docMk/>
          <pc:sldMk cId="697460111" sldId="2145705922"/>
        </pc:sldMkLst>
      </pc:sldChg>
      <pc:sldChg chg="del">
        <pc:chgData name="Sot, Urszula" userId="2a6be684-0ce0-42e4-a93c-6ee6cc224c18" providerId="ADAL" clId="{0A6D4C1C-927C-4363-ADA2-D0C311F1078F}" dt="2022-12-02T11:49:13.815" v="158" actId="2696"/>
        <pc:sldMkLst>
          <pc:docMk/>
          <pc:sldMk cId="593670850" sldId="2145705923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4193108091" sldId="2145705925"/>
        </pc:sldMkLst>
      </pc:sldChg>
      <pc:sldChg chg="delSp modSp mod">
        <pc:chgData name="Sot, Urszula" userId="2a6be684-0ce0-42e4-a93c-6ee6cc224c18" providerId="ADAL" clId="{0A6D4C1C-927C-4363-ADA2-D0C311F1078F}" dt="2022-12-07T19:16:40.399" v="4533" actId="207"/>
        <pc:sldMkLst>
          <pc:docMk/>
          <pc:sldMk cId="3249388847" sldId="2145705926"/>
        </pc:sldMkLst>
        <pc:spChg chg="mod">
          <ac:chgData name="Sot, Urszula" userId="2a6be684-0ce0-42e4-a93c-6ee6cc224c18" providerId="ADAL" clId="{0A6D4C1C-927C-4363-ADA2-D0C311F1078F}" dt="2022-12-07T19:16:40.399" v="4533" actId="207"/>
          <ac:spMkLst>
            <pc:docMk/>
            <pc:sldMk cId="3249388847" sldId="2145705926"/>
            <ac:spMk id="2" creationId="{A713F287-87B8-BB4C-9C43-157D7FBC6DC6}"/>
          </ac:spMkLst>
        </pc:spChg>
        <pc:spChg chg="del">
          <ac:chgData name="Sot, Urszula" userId="2a6be684-0ce0-42e4-a93c-6ee6cc224c18" providerId="ADAL" clId="{0A6D4C1C-927C-4363-ADA2-D0C311F1078F}" dt="2022-12-07T18:30:18.319" v="4037" actId="21"/>
          <ac:spMkLst>
            <pc:docMk/>
            <pc:sldMk cId="3249388847" sldId="2145705926"/>
            <ac:spMk id="5" creationId="{058CFAED-29F1-4A05-AD7A-A2C005D2C78A}"/>
          </ac:spMkLst>
        </pc:spChg>
      </pc:sldChg>
      <pc:sldChg chg="del">
        <pc:chgData name="Sot, Urszula" userId="2a6be684-0ce0-42e4-a93c-6ee6cc224c18" providerId="ADAL" clId="{0A6D4C1C-927C-4363-ADA2-D0C311F1078F}" dt="2022-12-07T19:11:22.549" v="4446" actId="2696"/>
        <pc:sldMkLst>
          <pc:docMk/>
          <pc:sldMk cId="1860349527" sldId="2145705927"/>
        </pc:sldMkLst>
      </pc:sldChg>
      <pc:sldChg chg="del">
        <pc:chgData name="Sot, Urszula" userId="2a6be684-0ce0-42e4-a93c-6ee6cc224c18" providerId="ADAL" clId="{0A6D4C1C-927C-4363-ADA2-D0C311F1078F}" dt="2022-12-07T18:28:12.544" v="4018" actId="2696"/>
        <pc:sldMkLst>
          <pc:docMk/>
          <pc:sldMk cId="1792680331" sldId="2145705929"/>
        </pc:sldMkLst>
      </pc:sldChg>
      <pc:sldChg chg="addSp delSp modSp mod">
        <pc:chgData name="Sot, Urszula" userId="2a6be684-0ce0-42e4-a93c-6ee6cc224c18" providerId="ADAL" clId="{0A6D4C1C-927C-4363-ADA2-D0C311F1078F}" dt="2022-12-07T19:10:59.549" v="4445"/>
        <pc:sldMkLst>
          <pc:docMk/>
          <pc:sldMk cId="3105333165" sldId="2145705931"/>
        </pc:sldMkLst>
        <pc:spChg chg="mod">
          <ac:chgData name="Sot, Urszula" userId="2a6be684-0ce0-42e4-a93c-6ee6cc224c18" providerId="ADAL" clId="{0A6D4C1C-927C-4363-ADA2-D0C311F1078F}" dt="2022-12-07T18:23:05.939" v="3989" actId="20577"/>
          <ac:spMkLst>
            <pc:docMk/>
            <pc:sldMk cId="3105333165" sldId="2145705931"/>
            <ac:spMk id="2" creationId="{282A937B-5107-4748-B856-F3F305E55D7A}"/>
          </ac:spMkLst>
        </pc:spChg>
        <pc:spChg chg="del">
          <ac:chgData name="Sot, Urszula" userId="2a6be684-0ce0-42e4-a93c-6ee6cc224c18" providerId="ADAL" clId="{0A6D4C1C-927C-4363-ADA2-D0C311F1078F}" dt="2022-12-07T18:20:44.533" v="3933" actId="21"/>
          <ac:spMkLst>
            <pc:docMk/>
            <pc:sldMk cId="3105333165" sldId="2145705931"/>
            <ac:spMk id="3" creationId="{156234A3-5199-F79B-3429-D394A404E1F3}"/>
          </ac:spMkLst>
        </pc:spChg>
        <pc:spChg chg="del">
          <ac:chgData name="Sot, Urszula" userId="2a6be684-0ce0-42e4-a93c-6ee6cc224c18" providerId="ADAL" clId="{0A6D4C1C-927C-4363-ADA2-D0C311F1078F}" dt="2022-12-07T18:20:47.884" v="3934" actId="21"/>
          <ac:spMkLst>
            <pc:docMk/>
            <pc:sldMk cId="3105333165" sldId="2145705931"/>
            <ac:spMk id="4" creationId="{58091EFF-C3BD-4461-AC24-8C9B87F3CA37}"/>
          </ac:spMkLst>
        </pc:spChg>
        <pc:spChg chg="del">
          <ac:chgData name="Sot, Urszula" userId="2a6be684-0ce0-42e4-a93c-6ee6cc224c18" providerId="ADAL" clId="{0A6D4C1C-927C-4363-ADA2-D0C311F1078F}" dt="2022-12-07T18:24:15.871" v="4005" actId="21"/>
          <ac:spMkLst>
            <pc:docMk/>
            <pc:sldMk cId="3105333165" sldId="2145705931"/>
            <ac:spMk id="7" creationId="{5D7E4CEC-8508-8E09-083F-5BE4F37CB7C9}"/>
          </ac:spMkLst>
        </pc:spChg>
        <pc:spChg chg="del">
          <ac:chgData name="Sot, Urszula" userId="2a6be684-0ce0-42e4-a93c-6ee6cc224c18" providerId="ADAL" clId="{0A6D4C1C-927C-4363-ADA2-D0C311F1078F}" dt="2022-12-07T18:23:43.365" v="3993" actId="21"/>
          <ac:spMkLst>
            <pc:docMk/>
            <pc:sldMk cId="3105333165" sldId="2145705931"/>
            <ac:spMk id="10" creationId="{889FD077-CEFB-CD0B-ED95-8587BEF58CC6}"/>
          </ac:spMkLst>
        </pc:spChg>
        <pc:spChg chg="add mod">
          <ac:chgData name="Sot, Urszula" userId="2a6be684-0ce0-42e4-a93c-6ee6cc224c18" providerId="ADAL" clId="{0A6D4C1C-927C-4363-ADA2-D0C311F1078F}" dt="2022-12-07T19:10:59.549" v="4445"/>
          <ac:spMkLst>
            <pc:docMk/>
            <pc:sldMk cId="3105333165" sldId="2145705931"/>
            <ac:spMk id="19" creationId="{284F4457-191B-4978-B316-F1C4755712AF}"/>
          </ac:spMkLst>
        </pc:spChg>
        <pc:spChg chg="mod">
          <ac:chgData name="Sot, Urszula" userId="2a6be684-0ce0-42e4-a93c-6ee6cc224c18" providerId="ADAL" clId="{0A6D4C1C-927C-4363-ADA2-D0C311F1078F}" dt="2022-12-07T18:24:07.388" v="4004" actId="20577"/>
          <ac:spMkLst>
            <pc:docMk/>
            <pc:sldMk cId="3105333165" sldId="2145705931"/>
            <ac:spMk id="27" creationId="{2EE07CF6-DA9F-4570-96C4-9236C5A7C586}"/>
          </ac:spMkLst>
        </pc:spChg>
        <pc:spChg chg="del">
          <ac:chgData name="Sot, Urszula" userId="2a6be684-0ce0-42e4-a93c-6ee6cc224c18" providerId="ADAL" clId="{0A6D4C1C-927C-4363-ADA2-D0C311F1078F}" dt="2022-12-07T18:21:38.481" v="3938" actId="21"/>
          <ac:spMkLst>
            <pc:docMk/>
            <pc:sldMk cId="3105333165" sldId="2145705931"/>
            <ac:spMk id="29" creationId="{2E617EDB-8E4F-4593-A072-90EF35FAD79A}"/>
          </ac:spMkLst>
        </pc:spChg>
        <pc:picChg chg="add mod">
          <ac:chgData name="Sot, Urszula" userId="2a6be684-0ce0-42e4-a93c-6ee6cc224c18" providerId="ADAL" clId="{0A6D4C1C-927C-4363-ADA2-D0C311F1078F}" dt="2022-12-07T18:24:55.484" v="4014" actId="1076"/>
          <ac:picMkLst>
            <pc:docMk/>
            <pc:sldMk cId="3105333165" sldId="2145705931"/>
            <ac:picMk id="6" creationId="{F197A300-B4A4-47DB-A88E-AF8FBE9DDBE7}"/>
          </ac:picMkLst>
        </pc:picChg>
        <pc:picChg chg="del">
          <ac:chgData name="Sot, Urszula" userId="2a6be684-0ce0-42e4-a93c-6ee6cc224c18" providerId="ADAL" clId="{0A6D4C1C-927C-4363-ADA2-D0C311F1078F}" dt="2022-12-07T18:20:41.057" v="3932" actId="21"/>
          <ac:picMkLst>
            <pc:docMk/>
            <pc:sldMk cId="3105333165" sldId="2145705931"/>
            <ac:picMk id="9" creationId="{3157702F-4370-B1B3-8924-AD332A941ACA}"/>
          </ac:picMkLst>
        </pc:picChg>
        <pc:picChg chg="add mod">
          <ac:chgData name="Sot, Urszula" userId="2a6be684-0ce0-42e4-a93c-6ee6cc224c18" providerId="ADAL" clId="{0A6D4C1C-927C-4363-ADA2-D0C311F1078F}" dt="2022-12-07T18:24:48.207" v="4012" actId="14100"/>
          <ac:picMkLst>
            <pc:docMk/>
            <pc:sldMk cId="3105333165" sldId="2145705931"/>
            <ac:picMk id="11" creationId="{0B3CCDA5-7B54-4435-851C-F00B117447B7}"/>
          </ac:picMkLst>
        </pc:picChg>
      </pc:sldChg>
      <pc:sldChg chg="del">
        <pc:chgData name="Sot, Urszula" userId="2a6be684-0ce0-42e4-a93c-6ee6cc224c18" providerId="ADAL" clId="{0A6D4C1C-927C-4363-ADA2-D0C311F1078F}" dt="2022-12-07T18:28:31.979" v="4019" actId="2696"/>
        <pc:sldMkLst>
          <pc:docMk/>
          <pc:sldMk cId="3000141892" sldId="2145705932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3583800371" sldId="2145705937"/>
        </pc:sldMkLst>
      </pc:sldChg>
      <pc:sldChg chg="del">
        <pc:chgData name="Sot, Urszula" userId="2a6be684-0ce0-42e4-a93c-6ee6cc224c18" providerId="ADAL" clId="{0A6D4C1C-927C-4363-ADA2-D0C311F1078F}" dt="2022-12-02T11:52:14.443" v="172" actId="2696"/>
        <pc:sldMkLst>
          <pc:docMk/>
          <pc:sldMk cId="2329976509" sldId="2147047705"/>
        </pc:sldMkLst>
      </pc:sldChg>
      <pc:sldChg chg="del">
        <pc:chgData name="Sot, Urszula" userId="2a6be684-0ce0-42e4-a93c-6ee6cc224c18" providerId="ADAL" clId="{0A6D4C1C-927C-4363-ADA2-D0C311F1078F}" dt="2022-12-02T11:52:00.498" v="166" actId="2696"/>
        <pc:sldMkLst>
          <pc:docMk/>
          <pc:sldMk cId="269440079" sldId="2147047720"/>
        </pc:sldMkLst>
      </pc:sldChg>
      <pc:sldChg chg="addSp delSp modSp mod ord">
        <pc:chgData name="Sot, Urszula" userId="2a6be684-0ce0-42e4-a93c-6ee6cc224c18" providerId="ADAL" clId="{0A6D4C1C-927C-4363-ADA2-D0C311F1078F}" dt="2022-12-07T19:23:01.374" v="4564" actId="948"/>
        <pc:sldMkLst>
          <pc:docMk/>
          <pc:sldMk cId="3658586270" sldId="2147047744"/>
        </pc:sldMkLst>
        <pc:spChg chg="mod">
          <ac:chgData name="Sot, Urszula" userId="2a6be684-0ce0-42e4-a93c-6ee6cc224c18" providerId="ADAL" clId="{0A6D4C1C-927C-4363-ADA2-D0C311F1078F}" dt="2022-12-07T19:14:07.721" v="4516" actId="114"/>
          <ac:spMkLst>
            <pc:docMk/>
            <pc:sldMk cId="3658586270" sldId="2147047744"/>
            <ac:spMk id="2" creationId="{202E6A49-A8F5-8949-8E3C-966F43F8A20D}"/>
          </ac:spMkLst>
        </pc:spChg>
        <pc:spChg chg="mod">
          <ac:chgData name="Sot, Urszula" userId="2a6be684-0ce0-42e4-a93c-6ee6cc224c18" providerId="ADAL" clId="{0A6D4C1C-927C-4363-ADA2-D0C311F1078F}" dt="2022-12-07T19:23:01.374" v="4564" actId="948"/>
          <ac:spMkLst>
            <pc:docMk/>
            <pc:sldMk cId="3658586270" sldId="2147047744"/>
            <ac:spMk id="6" creationId="{C819F32C-7F94-4FBB-89F2-638014214BC6}"/>
          </ac:spMkLst>
        </pc:spChg>
        <pc:spChg chg="del mod">
          <ac:chgData name="Sot, Urszula" userId="2a6be684-0ce0-42e4-a93c-6ee6cc224c18" providerId="ADAL" clId="{0A6D4C1C-927C-4363-ADA2-D0C311F1078F}" dt="2022-12-07T09:16:54.772" v="1465" actId="21"/>
          <ac:spMkLst>
            <pc:docMk/>
            <pc:sldMk cId="3658586270" sldId="2147047744"/>
            <ac:spMk id="7" creationId="{8CD25673-1BB9-48C6-BFBB-5A8F5DF87D9E}"/>
          </ac:spMkLst>
        </pc:spChg>
        <pc:spChg chg="del">
          <ac:chgData name="Sot, Urszula" userId="2a6be684-0ce0-42e4-a93c-6ee6cc224c18" providerId="ADAL" clId="{0A6D4C1C-927C-4363-ADA2-D0C311F1078F}" dt="2022-12-07T09:16:48.899" v="1463" actId="21"/>
          <ac:spMkLst>
            <pc:docMk/>
            <pc:sldMk cId="3658586270" sldId="2147047744"/>
            <ac:spMk id="8" creationId="{7D6EFCF5-D235-4153-A22D-F588C5857E0F}"/>
          </ac:spMkLst>
        </pc:spChg>
        <pc:spChg chg="del">
          <ac:chgData name="Sot, Urszula" userId="2a6be684-0ce0-42e4-a93c-6ee6cc224c18" providerId="ADAL" clId="{0A6D4C1C-927C-4363-ADA2-D0C311F1078F}" dt="2022-12-02T11:51:36.691" v="162" actId="21"/>
          <ac:spMkLst>
            <pc:docMk/>
            <pc:sldMk cId="3658586270" sldId="2147047744"/>
            <ac:spMk id="11" creationId="{D803A6D1-6EC3-48E6-982D-B4639BE86C66}"/>
          </ac:spMkLst>
        </pc:spChg>
        <pc:spChg chg="add mod">
          <ac:chgData name="Sot, Urszula" userId="2a6be684-0ce0-42e4-a93c-6ee6cc224c18" providerId="ADAL" clId="{0A6D4C1C-927C-4363-ADA2-D0C311F1078F}" dt="2022-12-07T19:09:53.749" v="4430"/>
          <ac:spMkLst>
            <pc:docMk/>
            <pc:sldMk cId="3658586270" sldId="2147047744"/>
            <ac:spMk id="12" creationId="{12BA263D-3C28-4B79-8F07-C005EFCA58E5}"/>
          </ac:spMkLst>
        </pc:spChg>
        <pc:spChg chg="del">
          <ac:chgData name="Sot, Urszula" userId="2a6be684-0ce0-42e4-a93c-6ee6cc224c18" providerId="ADAL" clId="{0A6D4C1C-927C-4363-ADA2-D0C311F1078F}" dt="2022-12-07T09:16:44.783" v="1461" actId="21"/>
          <ac:spMkLst>
            <pc:docMk/>
            <pc:sldMk cId="3658586270" sldId="2147047744"/>
            <ac:spMk id="20" creationId="{61A31B36-07D7-4D43-B75B-4C5892CD8D70}"/>
          </ac:spMkLst>
        </pc:spChg>
        <pc:spChg chg="del">
          <ac:chgData name="Sot, Urszula" userId="2a6be684-0ce0-42e4-a93c-6ee6cc224c18" providerId="ADAL" clId="{0A6D4C1C-927C-4363-ADA2-D0C311F1078F}" dt="2022-12-02T11:51:47.496" v="165" actId="21"/>
          <ac:spMkLst>
            <pc:docMk/>
            <pc:sldMk cId="3658586270" sldId="2147047744"/>
            <ac:spMk id="31" creationId="{75A9F2B6-7E95-4711-8914-569BC5F36659}"/>
          </ac:spMkLst>
        </pc:spChg>
        <pc:graphicFrameChg chg="del">
          <ac:chgData name="Sot, Urszula" userId="2a6be684-0ce0-42e4-a93c-6ee6cc224c18" providerId="ADAL" clId="{0A6D4C1C-927C-4363-ADA2-D0C311F1078F}" dt="2022-12-07T08:48:36.313" v="1023" actId="21"/>
          <ac:graphicFrameMkLst>
            <pc:docMk/>
            <pc:sldMk cId="3658586270" sldId="2147047744"/>
            <ac:graphicFrameMk id="4" creationId="{4BC4DAEF-03CC-0DD4-4605-8B2531290630}"/>
          </ac:graphicFrameMkLst>
        </pc:graphicFrameChg>
        <pc:picChg chg="del">
          <ac:chgData name="Sot, Urszula" userId="2a6be684-0ce0-42e4-a93c-6ee6cc224c18" providerId="ADAL" clId="{0A6D4C1C-927C-4363-ADA2-D0C311F1078F}" dt="2022-12-07T09:16:40.058" v="1460" actId="21"/>
          <ac:picMkLst>
            <pc:docMk/>
            <pc:sldMk cId="3658586270" sldId="2147047744"/>
            <ac:picMk id="14" creationId="{6A4D9C81-B198-C14D-A3E3-D33E7D5DF859}"/>
          </ac:picMkLst>
        </pc:picChg>
        <pc:picChg chg="del">
          <ac:chgData name="Sot, Urszula" userId="2a6be684-0ce0-42e4-a93c-6ee6cc224c18" providerId="ADAL" clId="{0A6D4C1C-927C-4363-ADA2-D0C311F1078F}" dt="2022-12-02T11:51:43.616" v="164" actId="21"/>
          <ac:picMkLst>
            <pc:docMk/>
            <pc:sldMk cId="3658586270" sldId="2147047744"/>
            <ac:picMk id="18" creationId="{EF7F0792-3EF4-7341-9165-79463F7A37B0}"/>
          </ac:picMkLst>
        </pc:picChg>
        <pc:picChg chg="del">
          <ac:chgData name="Sot, Urszula" userId="2a6be684-0ce0-42e4-a93c-6ee6cc224c18" providerId="ADAL" clId="{0A6D4C1C-927C-4363-ADA2-D0C311F1078F}" dt="2022-12-07T09:16:45.922" v="1462" actId="21"/>
          <ac:picMkLst>
            <pc:docMk/>
            <pc:sldMk cId="3658586270" sldId="2147047744"/>
            <ac:picMk id="21" creationId="{26DE6952-0A54-474E-8A8B-DE767D08DD44}"/>
          </ac:picMkLst>
        </pc:picChg>
        <pc:picChg chg="del">
          <ac:chgData name="Sot, Urszula" userId="2a6be684-0ce0-42e4-a93c-6ee6cc224c18" providerId="ADAL" clId="{0A6D4C1C-927C-4363-ADA2-D0C311F1078F}" dt="2022-12-07T09:16:37.467" v="1458" actId="21"/>
          <ac:picMkLst>
            <pc:docMk/>
            <pc:sldMk cId="3658586270" sldId="2147047744"/>
            <ac:picMk id="22" creationId="{56603ACE-C52A-0D4F-9A90-013D19C9C630}"/>
          </ac:picMkLst>
        </pc:picChg>
        <pc:picChg chg="del">
          <ac:chgData name="Sot, Urszula" userId="2a6be684-0ce0-42e4-a93c-6ee6cc224c18" providerId="ADAL" clId="{0A6D4C1C-927C-4363-ADA2-D0C311F1078F}" dt="2022-12-02T11:51:39.573" v="163" actId="21"/>
          <ac:picMkLst>
            <pc:docMk/>
            <pc:sldMk cId="3658586270" sldId="2147047744"/>
            <ac:picMk id="23" creationId="{AEF8ED2E-9D27-6440-9BD3-592EFA877316}"/>
          </ac:picMkLst>
        </pc:picChg>
        <pc:picChg chg="del">
          <ac:chgData name="Sot, Urszula" userId="2a6be684-0ce0-42e4-a93c-6ee6cc224c18" providerId="ADAL" clId="{0A6D4C1C-927C-4363-ADA2-D0C311F1078F}" dt="2022-12-07T09:16:39.158" v="1459" actId="21"/>
          <ac:picMkLst>
            <pc:docMk/>
            <pc:sldMk cId="3658586270" sldId="2147047744"/>
            <ac:picMk id="26" creationId="{8F0A2CB0-B2D4-F34C-8395-D67857D1FE8D}"/>
          </ac:picMkLst>
        </pc:picChg>
      </pc:sldChg>
      <pc:sldChg chg="del">
        <pc:chgData name="Sot, Urszula" userId="2a6be684-0ce0-42e4-a93c-6ee6cc224c18" providerId="ADAL" clId="{0A6D4C1C-927C-4363-ADA2-D0C311F1078F}" dt="2022-12-02T11:48:56.587" v="156" actId="18676"/>
        <pc:sldMkLst>
          <pc:docMk/>
          <pc:sldMk cId="1926244397" sldId="2147048266"/>
        </pc:sldMkLst>
      </pc:sldChg>
      <pc:sldChg chg="del">
        <pc:chgData name="Sot, Urszula" userId="2a6be684-0ce0-42e4-a93c-6ee6cc224c18" providerId="ADAL" clId="{0A6D4C1C-927C-4363-ADA2-D0C311F1078F}" dt="2022-12-02T11:49:17.199" v="161" actId="2696"/>
        <pc:sldMkLst>
          <pc:docMk/>
          <pc:sldMk cId="3778826346" sldId="2147048268"/>
        </pc:sldMkLst>
      </pc:sldChg>
      <pc:sldChg chg="delSp modSp mod">
        <pc:chgData name="Sot, Urszula" userId="2a6be684-0ce0-42e4-a93c-6ee6cc224c18" providerId="ADAL" clId="{0A6D4C1C-927C-4363-ADA2-D0C311F1078F}" dt="2022-12-07T19:13:34.214" v="4514" actId="207"/>
        <pc:sldMkLst>
          <pc:docMk/>
          <pc:sldMk cId="2906480058" sldId="2147048269"/>
        </pc:sldMkLst>
        <pc:spChg chg="mod">
          <ac:chgData name="Sot, Urszula" userId="2a6be684-0ce0-42e4-a93c-6ee6cc224c18" providerId="ADAL" clId="{0A6D4C1C-927C-4363-ADA2-D0C311F1078F}" dt="2022-12-07T19:13:34.214" v="4514" actId="207"/>
          <ac:spMkLst>
            <pc:docMk/>
            <pc:sldMk cId="2906480058" sldId="2147048269"/>
            <ac:spMk id="2" creationId="{B57332A8-728D-B34B-9AF3-FA0892D9CC34}"/>
          </ac:spMkLst>
        </pc:spChg>
        <pc:spChg chg="del">
          <ac:chgData name="Sot, Urszula" userId="2a6be684-0ce0-42e4-a93c-6ee6cc224c18" providerId="ADAL" clId="{0A6D4C1C-927C-4363-ADA2-D0C311F1078F}" dt="2022-12-07T19:12:47.550" v="4511" actId="21"/>
          <ac:spMkLst>
            <pc:docMk/>
            <pc:sldMk cId="2906480058" sldId="2147048269"/>
            <ac:spMk id="3" creationId="{B34764CE-B968-6543-A9E3-9B06D3441BFA}"/>
          </ac:spMkLst>
        </pc:spChg>
      </pc:sldChg>
      <pc:sldChg chg="del">
        <pc:chgData name="Sot, Urszula" userId="2a6be684-0ce0-42e4-a93c-6ee6cc224c18" providerId="ADAL" clId="{0A6D4C1C-927C-4363-ADA2-D0C311F1078F}" dt="2022-12-02T11:52:39.417" v="173" actId="18676"/>
        <pc:sldMkLst>
          <pc:docMk/>
          <pc:sldMk cId="3244147304" sldId="2147470325"/>
        </pc:sldMkLst>
      </pc:sldChg>
      <pc:sldChg chg="del">
        <pc:chgData name="Sot, Urszula" userId="2a6be684-0ce0-42e4-a93c-6ee6cc224c18" providerId="ADAL" clId="{0A6D4C1C-927C-4363-ADA2-D0C311F1078F}" dt="2022-12-02T11:53:23.441" v="190" actId="2696"/>
        <pc:sldMkLst>
          <pc:docMk/>
          <pc:sldMk cId="821317160" sldId="2147470351"/>
        </pc:sldMkLst>
      </pc:sldChg>
      <pc:sldChg chg="del">
        <pc:chgData name="Sot, Urszula" userId="2a6be684-0ce0-42e4-a93c-6ee6cc224c18" providerId="ADAL" clId="{0A6D4C1C-927C-4363-ADA2-D0C311F1078F}" dt="2022-12-02T11:53:17.609" v="182" actId="2696"/>
        <pc:sldMkLst>
          <pc:docMk/>
          <pc:sldMk cId="2261166302" sldId="2147470352"/>
        </pc:sldMkLst>
      </pc:sldChg>
      <pc:sldChg chg="del">
        <pc:chgData name="Sot, Urszula" userId="2a6be684-0ce0-42e4-a93c-6ee6cc224c18" providerId="ADAL" clId="{0A6D4C1C-927C-4363-ADA2-D0C311F1078F}" dt="2022-12-02T11:48:47.272" v="153" actId="2696"/>
        <pc:sldMkLst>
          <pc:docMk/>
          <pc:sldMk cId="2469610237" sldId="2147470362"/>
        </pc:sldMkLst>
      </pc:sldChg>
      <pc:sldChg chg="del">
        <pc:chgData name="Sot, Urszula" userId="2a6be684-0ce0-42e4-a93c-6ee6cc224c18" providerId="ADAL" clId="{0A6D4C1C-927C-4363-ADA2-D0C311F1078F}" dt="2022-12-02T11:48:47.986" v="154" actId="2696"/>
        <pc:sldMkLst>
          <pc:docMk/>
          <pc:sldMk cId="3552236877" sldId="2147470363"/>
        </pc:sldMkLst>
      </pc:sldChg>
      <pc:sldChg chg="del">
        <pc:chgData name="Sot, Urszula" userId="2a6be684-0ce0-42e4-a93c-6ee6cc224c18" providerId="ADAL" clId="{0A6D4C1C-927C-4363-ADA2-D0C311F1078F}" dt="2022-12-02T11:52:39.417" v="173" actId="18676"/>
        <pc:sldMkLst>
          <pc:docMk/>
          <pc:sldMk cId="50658473" sldId="2147470365"/>
        </pc:sldMkLst>
      </pc:sldChg>
      <pc:sldChg chg="del">
        <pc:chgData name="Sot, Urszula" userId="2a6be684-0ce0-42e4-a93c-6ee6cc224c18" providerId="ADAL" clId="{0A6D4C1C-927C-4363-ADA2-D0C311F1078F}" dt="2022-12-02T11:52:39.417" v="173" actId="18676"/>
        <pc:sldMkLst>
          <pc:docMk/>
          <pc:sldMk cId="18539566" sldId="2147470366"/>
        </pc:sldMkLst>
      </pc:sldChg>
      <pc:sldChg chg="del">
        <pc:chgData name="Sot, Urszula" userId="2a6be684-0ce0-42e4-a93c-6ee6cc224c18" providerId="ADAL" clId="{0A6D4C1C-927C-4363-ADA2-D0C311F1078F}" dt="2022-12-02T11:53:10.441" v="176" actId="2696"/>
        <pc:sldMkLst>
          <pc:docMk/>
          <pc:sldMk cId="3222028420" sldId="2147470367"/>
        </pc:sldMkLst>
      </pc:sldChg>
      <pc:sldChg chg="del">
        <pc:chgData name="Sot, Urszula" userId="2a6be684-0ce0-42e4-a93c-6ee6cc224c18" providerId="ADAL" clId="{0A6D4C1C-927C-4363-ADA2-D0C311F1078F}" dt="2022-12-02T11:53:11.224" v="177" actId="2696"/>
        <pc:sldMkLst>
          <pc:docMk/>
          <pc:sldMk cId="4046878669" sldId="2147470368"/>
        </pc:sldMkLst>
      </pc:sldChg>
      <pc:sldChg chg="del">
        <pc:chgData name="Sot, Urszula" userId="2a6be684-0ce0-42e4-a93c-6ee6cc224c18" providerId="ADAL" clId="{0A6D4C1C-927C-4363-ADA2-D0C311F1078F}" dt="2022-12-02T11:52:39.417" v="173" actId="18676"/>
        <pc:sldMkLst>
          <pc:docMk/>
          <pc:sldMk cId="34283870" sldId="2147470369"/>
        </pc:sldMkLst>
      </pc:sldChg>
      <pc:sldChg chg="del">
        <pc:chgData name="Sot, Urszula" userId="2a6be684-0ce0-42e4-a93c-6ee6cc224c18" providerId="ADAL" clId="{0A6D4C1C-927C-4363-ADA2-D0C311F1078F}" dt="2022-12-02T11:52:39.417" v="173" actId="18676"/>
        <pc:sldMkLst>
          <pc:docMk/>
          <pc:sldMk cId="3298520725" sldId="2147470370"/>
        </pc:sldMkLst>
      </pc:sldChg>
      <pc:sldChg chg="addSp delSp modSp mod">
        <pc:chgData name="Sot, Urszula" userId="2a6be684-0ce0-42e4-a93c-6ee6cc224c18" providerId="ADAL" clId="{0A6D4C1C-927C-4363-ADA2-D0C311F1078F}" dt="2022-12-07T19:14:42.249" v="4520" actId="207"/>
        <pc:sldMkLst>
          <pc:docMk/>
          <pc:sldMk cId="4266612028" sldId="2147470371"/>
        </pc:sldMkLst>
        <pc:spChg chg="mod">
          <ac:chgData name="Sot, Urszula" userId="2a6be684-0ce0-42e4-a93c-6ee6cc224c18" providerId="ADAL" clId="{0A6D4C1C-927C-4363-ADA2-D0C311F1078F}" dt="2022-12-07T19:14:42.249" v="4520" actId="207"/>
          <ac:spMkLst>
            <pc:docMk/>
            <pc:sldMk cId="4266612028" sldId="2147470371"/>
            <ac:spMk id="2" creationId="{F4EE0ADB-6DEB-43AF-83D8-EF6D73907582}"/>
          </ac:spMkLst>
        </pc:spChg>
        <pc:spChg chg="mod">
          <ac:chgData name="Sot, Urszula" userId="2a6be684-0ce0-42e4-a93c-6ee6cc224c18" providerId="ADAL" clId="{0A6D4C1C-927C-4363-ADA2-D0C311F1078F}" dt="2022-12-07T12:16:25.414" v="2108" actId="1076"/>
          <ac:spMkLst>
            <pc:docMk/>
            <pc:sldMk cId="4266612028" sldId="2147470371"/>
            <ac:spMk id="5" creationId="{D2EA710A-9500-48D9-8268-0547C159B1AC}"/>
          </ac:spMkLst>
        </pc:spChg>
        <pc:spChg chg="mod">
          <ac:chgData name="Sot, Urszula" userId="2a6be684-0ce0-42e4-a93c-6ee6cc224c18" providerId="ADAL" clId="{0A6D4C1C-927C-4363-ADA2-D0C311F1078F}" dt="2022-12-07T12:16:33.771" v="2109" actId="20577"/>
          <ac:spMkLst>
            <pc:docMk/>
            <pc:sldMk cId="4266612028" sldId="2147470371"/>
            <ac:spMk id="7" creationId="{5BFC4042-F6EB-465F-8FE9-7552361C51F6}"/>
          </ac:spMkLst>
        </pc:spChg>
        <pc:spChg chg="add mod">
          <ac:chgData name="Sot, Urszula" userId="2a6be684-0ce0-42e4-a93c-6ee6cc224c18" providerId="ADAL" clId="{0A6D4C1C-927C-4363-ADA2-D0C311F1078F}" dt="2022-12-07T19:10:13.741" v="4433"/>
          <ac:spMkLst>
            <pc:docMk/>
            <pc:sldMk cId="4266612028" sldId="2147470371"/>
            <ac:spMk id="13" creationId="{7A7BCEEA-EA16-4C65-A475-CD85E377DF78}"/>
          </ac:spMkLst>
        </pc:spChg>
        <pc:spChg chg="mod">
          <ac:chgData name="Sot, Urszula" userId="2a6be684-0ce0-42e4-a93c-6ee6cc224c18" providerId="ADAL" clId="{0A6D4C1C-927C-4363-ADA2-D0C311F1078F}" dt="2022-12-07T11:57:11.967" v="2051" actId="20577"/>
          <ac:spMkLst>
            <pc:docMk/>
            <pc:sldMk cId="4266612028" sldId="2147470371"/>
            <ac:spMk id="41" creationId="{3974FFE0-61C8-471B-9D44-128B4D578184}"/>
          </ac:spMkLst>
        </pc:spChg>
        <pc:graphicFrameChg chg="del">
          <ac:chgData name="Sot, Urszula" userId="2a6be684-0ce0-42e4-a93c-6ee6cc224c18" providerId="ADAL" clId="{0A6D4C1C-927C-4363-ADA2-D0C311F1078F}" dt="2022-12-07T11:39:13.794" v="2018" actId="21"/>
          <ac:graphicFrameMkLst>
            <pc:docMk/>
            <pc:sldMk cId="4266612028" sldId="2147470371"/>
            <ac:graphicFrameMk id="4" creationId="{48653215-24EB-837F-DA48-3685CA0CF9E0}"/>
          </ac:graphicFrameMkLst>
        </pc:graphicFrameChg>
      </pc:sldChg>
      <pc:sldChg chg="addSp delSp modSp mod modClrScheme modAnim chgLayout">
        <pc:chgData name="Sot, Urszula" userId="2a6be684-0ce0-42e4-a93c-6ee6cc224c18" providerId="ADAL" clId="{0A6D4C1C-927C-4363-ADA2-D0C311F1078F}" dt="2022-12-07T19:10:07.378" v="4432" actId="167"/>
        <pc:sldMkLst>
          <pc:docMk/>
          <pc:sldMk cId="270494217" sldId="2147470372"/>
        </pc:sldMkLst>
        <pc:spChg chg="add del">
          <ac:chgData name="Sot, Urszula" userId="2a6be684-0ce0-42e4-a93c-6ee6cc224c18" providerId="ADAL" clId="{0A6D4C1C-927C-4363-ADA2-D0C311F1078F}" dt="2022-12-07T10:47:25.725" v="1959" actId="21"/>
          <ac:spMkLst>
            <pc:docMk/>
            <pc:sldMk cId="270494217" sldId="2147470372"/>
            <ac:spMk id="4" creationId="{25614942-B6CD-6F4A-AAE7-D0B50C4C93F4}"/>
          </ac:spMkLst>
        </pc:spChg>
        <pc:spChg chg="add mod">
          <ac:chgData name="Sot, Urszula" userId="2a6be684-0ce0-42e4-a93c-6ee6cc224c18" providerId="ADAL" clId="{0A6D4C1C-927C-4363-ADA2-D0C311F1078F}" dt="2022-12-07T11:53:45.058" v="2023" actId="1076"/>
          <ac:spMkLst>
            <pc:docMk/>
            <pc:sldMk cId="270494217" sldId="2147470372"/>
            <ac:spMk id="25" creationId="{E8CA3B15-56C3-4D33-89CD-3F090F62A78B}"/>
          </ac:spMkLst>
        </pc:spChg>
        <pc:spChg chg="add del mod">
          <ac:chgData name="Sot, Urszula" userId="2a6be684-0ce0-42e4-a93c-6ee6cc224c18" providerId="ADAL" clId="{0A6D4C1C-927C-4363-ADA2-D0C311F1078F}" dt="2022-12-07T10:57:17.684" v="1990" actId="26606"/>
          <ac:spMkLst>
            <pc:docMk/>
            <pc:sldMk cId="270494217" sldId="2147470372"/>
            <ac:spMk id="26" creationId="{7175422E-7260-FB7E-85C5-A9C43360BC15}"/>
          </ac:spMkLst>
        </pc:spChg>
        <pc:spChg chg="add del">
          <ac:chgData name="Sot, Urszula" userId="2a6be684-0ce0-42e4-a93c-6ee6cc224c18" providerId="ADAL" clId="{0A6D4C1C-927C-4363-ADA2-D0C311F1078F}" dt="2022-12-07T11:36:26.448" v="2016" actId="21"/>
          <ac:spMkLst>
            <pc:docMk/>
            <pc:sldMk cId="270494217" sldId="2147470372"/>
            <ac:spMk id="27" creationId="{5E4BF5C1-26D4-4300-9683-4253A8440773}"/>
          </ac:spMkLst>
        </pc:spChg>
        <pc:spChg chg="add mod">
          <ac:chgData name="Sot, Urszula" userId="2a6be684-0ce0-42e4-a93c-6ee6cc224c18" providerId="ADAL" clId="{0A6D4C1C-927C-4363-ADA2-D0C311F1078F}" dt="2022-12-07T11:36:13.240" v="2015" actId="114"/>
          <ac:spMkLst>
            <pc:docMk/>
            <pc:sldMk cId="270494217" sldId="2147470372"/>
            <ac:spMk id="28" creationId="{AB102F9E-4942-4782-ACB3-20BEA53EC7A9}"/>
          </ac:spMkLst>
        </pc:spChg>
        <pc:spChg chg="add mod ord">
          <ac:chgData name="Sot, Urszula" userId="2a6be684-0ce0-42e4-a93c-6ee6cc224c18" providerId="ADAL" clId="{0A6D4C1C-927C-4363-ADA2-D0C311F1078F}" dt="2022-12-07T19:10:07.378" v="4432" actId="167"/>
          <ac:spMkLst>
            <pc:docMk/>
            <pc:sldMk cId="270494217" sldId="2147470372"/>
            <ac:spMk id="29" creationId="{26363A65-D1B7-4752-92DA-CABBF4E6FD59}"/>
          </ac:spMkLst>
        </pc:spChg>
        <pc:graphicFrameChg chg="add del modGraphic">
          <ac:chgData name="Sot, Urszula" userId="2a6be684-0ce0-42e4-a93c-6ee6cc224c18" providerId="ADAL" clId="{0A6D4C1C-927C-4363-ADA2-D0C311F1078F}" dt="2022-12-07T10:46:24.349" v="1950" actId="21"/>
          <ac:graphicFrameMkLst>
            <pc:docMk/>
            <pc:sldMk cId="270494217" sldId="2147470372"/>
            <ac:graphicFrameMk id="11" creationId="{FF463D82-55D2-6E2F-00B4-70A279A61DA2}"/>
          </ac:graphicFrameMkLst>
        </pc:graphicFrameChg>
        <pc:graphicFrameChg chg="add del mod modGraphic">
          <ac:chgData name="Sot, Urszula" userId="2a6be684-0ce0-42e4-a93c-6ee6cc224c18" providerId="ADAL" clId="{0A6D4C1C-927C-4363-ADA2-D0C311F1078F}" dt="2022-12-07T10:46:17.830" v="1946"/>
          <ac:graphicFrameMkLst>
            <pc:docMk/>
            <pc:sldMk cId="270494217" sldId="2147470372"/>
            <ac:graphicFrameMk id="13" creationId="{DB109821-5DB7-49AA-A7CF-FDD4CAFA9B3C}"/>
          </ac:graphicFrameMkLst>
        </pc:graphicFrameChg>
        <pc:graphicFrameChg chg="add del mod modGraphic">
          <ac:chgData name="Sot, Urszula" userId="2a6be684-0ce0-42e4-a93c-6ee6cc224c18" providerId="ADAL" clId="{0A6D4C1C-927C-4363-ADA2-D0C311F1078F}" dt="2022-12-07T10:47:21.915" v="1958"/>
          <ac:graphicFrameMkLst>
            <pc:docMk/>
            <pc:sldMk cId="270494217" sldId="2147470372"/>
            <ac:graphicFrameMk id="14" creationId="{5D0DC9E4-DC1C-4F31-A1B9-3EDDEE6309C2}"/>
          </ac:graphicFrameMkLst>
        </pc:graphicFrameChg>
        <pc:graphicFrameChg chg="add del mod modGraphic">
          <ac:chgData name="Sot, Urszula" userId="2a6be684-0ce0-42e4-a93c-6ee6cc224c18" providerId="ADAL" clId="{0A6D4C1C-927C-4363-ADA2-D0C311F1078F}" dt="2022-12-07T10:52:29.795" v="1981" actId="21"/>
          <ac:graphicFrameMkLst>
            <pc:docMk/>
            <pc:sldMk cId="270494217" sldId="2147470372"/>
            <ac:graphicFrameMk id="20" creationId="{B97C15F8-FC82-4C48-9180-2F2DEC85964C}"/>
          </ac:graphicFrameMkLst>
        </pc:graphicFrameChg>
        <pc:picChg chg="add del mod">
          <ac:chgData name="Sot, Urszula" userId="2a6be684-0ce0-42e4-a93c-6ee6cc224c18" providerId="ADAL" clId="{0A6D4C1C-927C-4363-ADA2-D0C311F1078F}" dt="2022-12-07T10:45:12.613" v="1932"/>
          <ac:picMkLst>
            <pc:docMk/>
            <pc:sldMk cId="270494217" sldId="2147470372"/>
            <ac:picMk id="2" creationId="{8CDF43DB-5AA8-4887-A54D-9CE34B50F067}"/>
          </ac:picMkLst>
        </pc:picChg>
        <pc:picChg chg="add del mod">
          <ac:chgData name="Sot, Urszula" userId="2a6be684-0ce0-42e4-a93c-6ee6cc224c18" providerId="ADAL" clId="{0A6D4C1C-927C-4363-ADA2-D0C311F1078F}" dt="2022-12-07T10:46:25.629" v="1951" actId="21"/>
          <ac:picMkLst>
            <pc:docMk/>
            <pc:sldMk cId="270494217" sldId="2147470372"/>
            <ac:picMk id="3" creationId="{A96A7A4A-E5DB-1975-385A-6887DEBD2D2B}"/>
          </ac:picMkLst>
        </pc:picChg>
        <pc:picChg chg="add del mod">
          <ac:chgData name="Sot, Urszula" userId="2a6be684-0ce0-42e4-a93c-6ee6cc224c18" providerId="ADAL" clId="{0A6D4C1C-927C-4363-ADA2-D0C311F1078F}" dt="2022-12-07T10:46:25.629" v="1951" actId="21"/>
          <ac:picMkLst>
            <pc:docMk/>
            <pc:sldMk cId="270494217" sldId="2147470372"/>
            <ac:picMk id="6" creationId="{A0538217-4210-2583-079D-949CFAFC0FE2}"/>
          </ac:picMkLst>
        </pc:picChg>
        <pc:picChg chg="add del mod">
          <ac:chgData name="Sot, Urszula" userId="2a6be684-0ce0-42e4-a93c-6ee6cc224c18" providerId="ADAL" clId="{0A6D4C1C-927C-4363-ADA2-D0C311F1078F}" dt="2022-12-07T10:48:32.508" v="1964" actId="21"/>
          <ac:picMkLst>
            <pc:docMk/>
            <pc:sldMk cId="270494217" sldId="2147470372"/>
            <ac:picMk id="7" creationId="{98517E2E-BA56-47B5-B92C-35E65D53284F}"/>
          </ac:picMkLst>
        </pc:picChg>
        <pc:picChg chg="add del mod">
          <ac:chgData name="Sot, Urszula" userId="2a6be684-0ce0-42e4-a93c-6ee6cc224c18" providerId="ADAL" clId="{0A6D4C1C-927C-4363-ADA2-D0C311F1078F}" dt="2022-12-07T10:55:18.907" v="1985" actId="21"/>
          <ac:picMkLst>
            <pc:docMk/>
            <pc:sldMk cId="270494217" sldId="2147470372"/>
            <ac:picMk id="9" creationId="{71CBB615-EFF2-4B59-8552-0719A96BC0DE}"/>
          </ac:picMkLst>
        </pc:picChg>
        <pc:picChg chg="add del mod">
          <ac:chgData name="Sot, Urszula" userId="2a6be684-0ce0-42e4-a93c-6ee6cc224c18" providerId="ADAL" clId="{0A6D4C1C-927C-4363-ADA2-D0C311F1078F}" dt="2022-12-07T09:59:13.751" v="1903" actId="21"/>
          <ac:picMkLst>
            <pc:docMk/>
            <pc:sldMk cId="270494217" sldId="2147470372"/>
            <ac:picMk id="12" creationId="{F94A3ED4-D954-4379-BB90-DF1BE323083B}"/>
          </ac:picMkLst>
        </pc:picChg>
        <pc:picChg chg="add del">
          <ac:chgData name="Sot, Urszula" userId="2a6be684-0ce0-42e4-a93c-6ee6cc224c18" providerId="ADAL" clId="{0A6D4C1C-927C-4363-ADA2-D0C311F1078F}" dt="2022-12-07T10:46:25.629" v="1951" actId="21"/>
          <ac:picMkLst>
            <pc:docMk/>
            <pc:sldMk cId="270494217" sldId="2147470372"/>
            <ac:picMk id="15" creationId="{0EDA55D6-EEA5-9BC4-07C1-2F52616879A5}"/>
          </ac:picMkLst>
        </pc:picChg>
        <pc:picChg chg="add del mod">
          <ac:chgData name="Sot, Urszula" userId="2a6be684-0ce0-42e4-a93c-6ee6cc224c18" providerId="ADAL" clId="{0A6D4C1C-927C-4363-ADA2-D0C311F1078F}" dt="2022-12-07T10:46:25.629" v="1951" actId="21"/>
          <ac:picMkLst>
            <pc:docMk/>
            <pc:sldMk cId="270494217" sldId="2147470372"/>
            <ac:picMk id="16" creationId="{81E3C0C8-FB44-2024-43B9-A58B5892D207}"/>
          </ac:picMkLst>
        </pc:picChg>
        <pc:picChg chg="del">
          <ac:chgData name="Sot, Urszula" userId="2a6be684-0ce0-42e4-a93c-6ee6cc224c18" providerId="ADAL" clId="{0A6D4C1C-927C-4363-ADA2-D0C311F1078F}" dt="2022-12-07T09:59:45.309" v="1907" actId="21"/>
          <ac:picMkLst>
            <pc:docMk/>
            <pc:sldMk cId="270494217" sldId="2147470372"/>
            <ac:picMk id="17" creationId="{8EA9FAA8-A7FB-4579-F22F-353FD7CA0FD6}"/>
          </ac:picMkLst>
        </pc:picChg>
        <pc:picChg chg="add del mod">
          <ac:chgData name="Sot, Urszula" userId="2a6be684-0ce0-42e4-a93c-6ee6cc224c18" providerId="ADAL" clId="{0A6D4C1C-927C-4363-ADA2-D0C311F1078F}" dt="2022-12-07T10:46:25.629" v="1951" actId="21"/>
          <ac:picMkLst>
            <pc:docMk/>
            <pc:sldMk cId="270494217" sldId="2147470372"/>
            <ac:picMk id="18" creationId="{C9122182-2361-8B4B-C9D9-F7330422567A}"/>
          </ac:picMkLst>
        </pc:picChg>
        <pc:picChg chg="add del mod">
          <ac:chgData name="Sot, Urszula" userId="2a6be684-0ce0-42e4-a93c-6ee6cc224c18" providerId="ADAL" clId="{0A6D4C1C-927C-4363-ADA2-D0C311F1078F}" dt="2022-12-07T10:46:25.629" v="1951" actId="21"/>
          <ac:picMkLst>
            <pc:docMk/>
            <pc:sldMk cId="270494217" sldId="2147470372"/>
            <ac:picMk id="19" creationId="{C57FCCA9-F1F9-D7ED-59F8-17CEE76928A9}"/>
          </ac:picMkLst>
        </pc:picChg>
        <pc:picChg chg="add del mod">
          <ac:chgData name="Sot, Urszula" userId="2a6be684-0ce0-42e4-a93c-6ee6cc224c18" providerId="ADAL" clId="{0A6D4C1C-927C-4363-ADA2-D0C311F1078F}" dt="2022-12-07T10:58:52.464" v="1995" actId="21"/>
          <ac:picMkLst>
            <pc:docMk/>
            <pc:sldMk cId="270494217" sldId="2147470372"/>
            <ac:picMk id="21" creationId="{2933550E-9ACF-4966-9FA7-1E8FAA222FC3}"/>
          </ac:picMkLst>
        </pc:picChg>
        <pc:picChg chg="add mod">
          <ac:chgData name="Sot, Urszula" userId="2a6be684-0ce0-42e4-a93c-6ee6cc224c18" providerId="ADAL" clId="{0A6D4C1C-927C-4363-ADA2-D0C311F1078F}" dt="2022-12-07T11:35:35.343" v="2010" actId="1076"/>
          <ac:picMkLst>
            <pc:docMk/>
            <pc:sldMk cId="270494217" sldId="2147470372"/>
            <ac:picMk id="23" creationId="{C15ADB90-DC33-4BA1-A554-1F6E20EC407C}"/>
          </ac:picMkLst>
        </pc:picChg>
      </pc:sldChg>
      <pc:sldChg chg="del">
        <pc:chgData name="Sot, Urszula" userId="2a6be684-0ce0-42e4-a93c-6ee6cc224c18" providerId="ADAL" clId="{0A6D4C1C-927C-4363-ADA2-D0C311F1078F}" dt="2022-12-02T11:53:12.842" v="178" actId="2696"/>
        <pc:sldMkLst>
          <pc:docMk/>
          <pc:sldMk cId="2898041047" sldId="2147470374"/>
        </pc:sldMkLst>
      </pc:sldChg>
      <pc:sldChg chg="del">
        <pc:chgData name="Sot, Urszula" userId="2a6be684-0ce0-42e4-a93c-6ee6cc224c18" providerId="ADAL" clId="{0A6D4C1C-927C-4363-ADA2-D0C311F1078F}" dt="2022-12-02T11:53:33.563" v="199" actId="2696"/>
        <pc:sldMkLst>
          <pc:docMk/>
          <pc:sldMk cId="3618048873" sldId="2147470375"/>
        </pc:sldMkLst>
      </pc:sldChg>
      <pc:sldChg chg="del">
        <pc:chgData name="Sot, Urszula" userId="2a6be684-0ce0-42e4-a93c-6ee6cc224c18" providerId="ADAL" clId="{0A6D4C1C-927C-4363-ADA2-D0C311F1078F}" dt="2022-12-02T11:53:14.192" v="179" actId="2696"/>
        <pc:sldMkLst>
          <pc:docMk/>
          <pc:sldMk cId="2509693540" sldId="2147470376"/>
        </pc:sldMkLst>
      </pc:sldChg>
      <pc:sldChg chg="del">
        <pc:chgData name="Sot, Urszula" userId="2a6be684-0ce0-42e4-a93c-6ee6cc224c18" providerId="ADAL" clId="{0A6D4C1C-927C-4363-ADA2-D0C311F1078F}" dt="2022-12-02T11:53:15.675" v="180" actId="2696"/>
        <pc:sldMkLst>
          <pc:docMk/>
          <pc:sldMk cId="2361419025" sldId="2147470377"/>
        </pc:sldMkLst>
      </pc:sldChg>
      <pc:sldChg chg="del">
        <pc:chgData name="Sot, Urszula" userId="2a6be684-0ce0-42e4-a93c-6ee6cc224c18" providerId="ADAL" clId="{0A6D4C1C-927C-4363-ADA2-D0C311F1078F}" dt="2022-12-02T11:53:36.059" v="201" actId="2696"/>
        <pc:sldMkLst>
          <pc:docMk/>
          <pc:sldMk cId="2724103676" sldId="2147470380"/>
        </pc:sldMkLst>
      </pc:sldChg>
      <pc:sldChg chg="del">
        <pc:chgData name="Sot, Urszula" userId="2a6be684-0ce0-42e4-a93c-6ee6cc224c18" providerId="ADAL" clId="{0A6D4C1C-927C-4363-ADA2-D0C311F1078F}" dt="2022-12-02T11:53:16.391" v="181" actId="2696"/>
        <pc:sldMkLst>
          <pc:docMk/>
          <pc:sldMk cId="1198890367" sldId="2147470381"/>
        </pc:sldMkLst>
      </pc:sldChg>
      <pc:sldChg chg="del">
        <pc:chgData name="Sot, Urszula" userId="2a6be684-0ce0-42e4-a93c-6ee6cc224c18" providerId="ADAL" clId="{0A6D4C1C-927C-4363-ADA2-D0C311F1078F}" dt="2022-12-02T11:53:18.272" v="183" actId="2696"/>
        <pc:sldMkLst>
          <pc:docMk/>
          <pc:sldMk cId="1815576133" sldId="2147470382"/>
        </pc:sldMkLst>
      </pc:sldChg>
      <pc:sldChg chg="del">
        <pc:chgData name="Sot, Urszula" userId="2a6be684-0ce0-42e4-a93c-6ee6cc224c18" providerId="ADAL" clId="{0A6D4C1C-927C-4363-ADA2-D0C311F1078F}" dt="2022-12-02T11:53:19.025" v="184" actId="2696"/>
        <pc:sldMkLst>
          <pc:docMk/>
          <pc:sldMk cId="3691508572" sldId="2147470383"/>
        </pc:sldMkLst>
      </pc:sldChg>
      <pc:sldChg chg="del">
        <pc:chgData name="Sot, Urszula" userId="2a6be684-0ce0-42e4-a93c-6ee6cc224c18" providerId="ADAL" clId="{0A6D4C1C-927C-4363-ADA2-D0C311F1078F}" dt="2022-12-02T11:53:20.391" v="186" actId="2696"/>
        <pc:sldMkLst>
          <pc:docMk/>
          <pc:sldMk cId="2048756213" sldId="2147470384"/>
        </pc:sldMkLst>
      </pc:sldChg>
      <pc:sldChg chg="del">
        <pc:chgData name="Sot, Urszula" userId="2a6be684-0ce0-42e4-a93c-6ee6cc224c18" providerId="ADAL" clId="{0A6D4C1C-927C-4363-ADA2-D0C311F1078F}" dt="2022-12-02T11:53:22.506" v="189" actId="2696"/>
        <pc:sldMkLst>
          <pc:docMk/>
          <pc:sldMk cId="985539936" sldId="2147470385"/>
        </pc:sldMkLst>
      </pc:sldChg>
      <pc:sldChg chg="del">
        <pc:chgData name="Sot, Urszula" userId="2a6be684-0ce0-42e4-a93c-6ee6cc224c18" providerId="ADAL" clId="{0A6D4C1C-927C-4363-ADA2-D0C311F1078F}" dt="2022-12-02T11:48:56.587" v="156" actId="18676"/>
        <pc:sldMkLst>
          <pc:docMk/>
          <pc:sldMk cId="2659435328" sldId="2147470389"/>
        </pc:sldMkLst>
      </pc:sldChg>
      <pc:sldChg chg="del">
        <pc:chgData name="Sot, Urszula" userId="2a6be684-0ce0-42e4-a93c-6ee6cc224c18" providerId="ADAL" clId="{0A6D4C1C-927C-4363-ADA2-D0C311F1078F}" dt="2022-12-02T11:48:56.587" v="156" actId="18676"/>
        <pc:sldMkLst>
          <pc:docMk/>
          <pc:sldMk cId="2706472897" sldId="2147470390"/>
        </pc:sldMkLst>
      </pc:sldChg>
      <pc:sldChg chg="del">
        <pc:chgData name="Sot, Urszula" userId="2a6be684-0ce0-42e4-a93c-6ee6cc224c18" providerId="ADAL" clId="{0A6D4C1C-927C-4363-ADA2-D0C311F1078F}" dt="2022-12-02T11:49:15.409" v="159" actId="2696"/>
        <pc:sldMkLst>
          <pc:docMk/>
          <pc:sldMk cId="4069565335" sldId="2147470392"/>
        </pc:sldMkLst>
      </pc:sldChg>
      <pc:sldChg chg="modSp mod">
        <pc:chgData name="Sot, Urszula" userId="2a6be684-0ce0-42e4-a93c-6ee6cc224c18" providerId="ADAL" clId="{0A6D4C1C-927C-4363-ADA2-D0C311F1078F}" dt="2022-12-07T19:14:26.361" v="4519" actId="1076"/>
        <pc:sldMkLst>
          <pc:docMk/>
          <pc:sldMk cId="3263425204" sldId="2147470393"/>
        </pc:sldMkLst>
        <pc:spChg chg="mod">
          <ac:chgData name="Sot, Urszula" userId="2a6be684-0ce0-42e4-a93c-6ee6cc224c18" providerId="ADAL" clId="{0A6D4C1C-927C-4363-ADA2-D0C311F1078F}" dt="2022-12-07T19:14:12.767" v="4517" actId="207"/>
          <ac:spMkLst>
            <pc:docMk/>
            <pc:sldMk cId="3263425204" sldId="2147470393"/>
            <ac:spMk id="2" creationId="{A713F287-87B8-BB4C-9C43-157D7FBC6DC6}"/>
          </ac:spMkLst>
        </pc:spChg>
        <pc:spChg chg="mod">
          <ac:chgData name="Sot, Urszula" userId="2a6be684-0ce0-42e4-a93c-6ee6cc224c18" providerId="ADAL" clId="{0A6D4C1C-927C-4363-ADA2-D0C311F1078F}" dt="2022-12-07T19:14:26.361" v="4519" actId="1076"/>
          <ac:spMkLst>
            <pc:docMk/>
            <pc:sldMk cId="3263425204" sldId="2147470393"/>
            <ac:spMk id="5" creationId="{058CFAED-29F1-4A05-AD7A-A2C005D2C78A}"/>
          </ac:spMkLst>
        </pc:spChg>
      </pc:sldChg>
      <pc:sldChg chg="del">
        <pc:chgData name="Sot, Urszula" userId="2a6be684-0ce0-42e4-a93c-6ee6cc224c18" providerId="ADAL" clId="{0A6D4C1C-927C-4363-ADA2-D0C311F1078F}" dt="2022-12-02T11:53:24.124" v="191" actId="2696"/>
        <pc:sldMkLst>
          <pc:docMk/>
          <pc:sldMk cId="1493709981" sldId="2147470394"/>
        </pc:sldMkLst>
      </pc:sldChg>
      <pc:sldChg chg="del">
        <pc:chgData name="Sot, Urszula" userId="2a6be684-0ce0-42e4-a93c-6ee6cc224c18" providerId="ADAL" clId="{0A6D4C1C-927C-4363-ADA2-D0C311F1078F}" dt="2022-12-02T11:48:48.987" v="155" actId="2696"/>
        <pc:sldMkLst>
          <pc:docMk/>
          <pc:sldMk cId="3656936177" sldId="2147470395"/>
        </pc:sldMkLst>
      </pc:sldChg>
      <pc:sldChg chg="del">
        <pc:chgData name="Sot, Urszula" userId="2a6be684-0ce0-42e4-a93c-6ee6cc224c18" providerId="ADAL" clId="{0A6D4C1C-927C-4363-ADA2-D0C311F1078F}" dt="2022-12-02T11:56:19.918" v="202" actId="2696"/>
        <pc:sldMkLst>
          <pc:docMk/>
          <pc:sldMk cId="1211867323" sldId="2147470396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2392687646" sldId="2147470397"/>
        </pc:sldMkLst>
      </pc:sldChg>
      <pc:sldChg chg="del">
        <pc:chgData name="Sot, Urszula" userId="2a6be684-0ce0-42e4-a93c-6ee6cc224c18" providerId="ADAL" clId="{0A6D4C1C-927C-4363-ADA2-D0C311F1078F}" dt="2022-12-02T11:52:03.569" v="168" actId="2696"/>
        <pc:sldMkLst>
          <pc:docMk/>
          <pc:sldMk cId="3731713449" sldId="2147470400"/>
        </pc:sldMkLst>
      </pc:sldChg>
      <pc:sldChg chg="del">
        <pc:chgData name="Sot, Urszula" userId="2a6be684-0ce0-42e4-a93c-6ee6cc224c18" providerId="ADAL" clId="{0A6D4C1C-927C-4363-ADA2-D0C311F1078F}" dt="2022-12-02T11:52:02.930" v="167" actId="2696"/>
        <pc:sldMkLst>
          <pc:docMk/>
          <pc:sldMk cId="1510168586" sldId="2147470401"/>
        </pc:sldMkLst>
      </pc:sldChg>
      <pc:sldChg chg="del">
        <pc:chgData name="Sot, Urszula" userId="2a6be684-0ce0-42e4-a93c-6ee6cc224c18" providerId="ADAL" clId="{0A6D4C1C-927C-4363-ADA2-D0C311F1078F}" dt="2022-12-02T11:52:04.829" v="169" actId="2696"/>
        <pc:sldMkLst>
          <pc:docMk/>
          <pc:sldMk cId="3647332929" sldId="2147470402"/>
        </pc:sldMkLst>
      </pc:sldChg>
      <pc:sldChg chg="del">
        <pc:chgData name="Sot, Urszula" userId="2a6be684-0ce0-42e4-a93c-6ee6cc224c18" providerId="ADAL" clId="{0A6D4C1C-927C-4363-ADA2-D0C311F1078F}" dt="2022-12-02T11:52:05.464" v="170" actId="2696"/>
        <pc:sldMkLst>
          <pc:docMk/>
          <pc:sldMk cId="3510273054" sldId="2147470403"/>
        </pc:sldMkLst>
      </pc:sldChg>
      <pc:sldChg chg="del">
        <pc:chgData name="Sot, Urszula" userId="2a6be684-0ce0-42e4-a93c-6ee6cc224c18" providerId="ADAL" clId="{0A6D4C1C-927C-4363-ADA2-D0C311F1078F}" dt="2022-12-02T11:52:06.578" v="171" actId="2696"/>
        <pc:sldMkLst>
          <pc:docMk/>
          <pc:sldMk cId="4085541042" sldId="2147470404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2032222050" sldId="2147470405"/>
        </pc:sldMkLst>
      </pc:sldChg>
      <pc:sldChg chg="del">
        <pc:chgData name="Sot, Urszula" userId="2a6be684-0ce0-42e4-a93c-6ee6cc224c18" providerId="ADAL" clId="{0A6D4C1C-927C-4363-ADA2-D0C311F1078F}" dt="2022-12-07T18:32:51.501" v="4039" actId="2696"/>
        <pc:sldMkLst>
          <pc:docMk/>
          <pc:sldMk cId="2247626337" sldId="2147470406"/>
        </pc:sldMkLst>
      </pc:sldChg>
      <pc:sldChg chg="del">
        <pc:chgData name="Sot, Urszula" userId="2a6be684-0ce0-42e4-a93c-6ee6cc224c18" providerId="ADAL" clId="{0A6D4C1C-927C-4363-ADA2-D0C311F1078F}" dt="2022-12-02T11:49:16.108" v="160" actId="2696"/>
        <pc:sldMkLst>
          <pc:docMk/>
          <pc:sldMk cId="2428311032" sldId="2147470407"/>
        </pc:sldMkLst>
      </pc:sldChg>
      <pc:sldChg chg="del">
        <pc:chgData name="Sot, Urszula" userId="2a6be684-0ce0-42e4-a93c-6ee6cc224c18" providerId="ADAL" clId="{0A6D4C1C-927C-4363-ADA2-D0C311F1078F}" dt="2022-12-02T11:48:56.587" v="156" actId="18676"/>
        <pc:sldMkLst>
          <pc:docMk/>
          <pc:sldMk cId="3650177487" sldId="2147470408"/>
        </pc:sldMkLst>
      </pc:sldChg>
      <pc:sldChg chg="del">
        <pc:chgData name="Sot, Urszula" userId="2a6be684-0ce0-42e4-a93c-6ee6cc224c18" providerId="ADAL" clId="{0A6D4C1C-927C-4363-ADA2-D0C311F1078F}" dt="2022-12-02T11:53:21.692" v="188" actId="2696"/>
        <pc:sldMkLst>
          <pc:docMk/>
          <pc:sldMk cId="2829050787" sldId="2147470410"/>
        </pc:sldMkLst>
      </pc:sldChg>
      <pc:sldChg chg="del">
        <pc:chgData name="Sot, Urszula" userId="2a6be684-0ce0-42e4-a93c-6ee6cc224c18" providerId="ADAL" clId="{0A6D4C1C-927C-4363-ADA2-D0C311F1078F}" dt="2022-12-02T11:56:22.173" v="203" actId="2696"/>
        <pc:sldMkLst>
          <pc:docMk/>
          <pc:sldMk cId="1582598250" sldId="2147470411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4008378673" sldId="2147470412"/>
        </pc:sldMkLst>
      </pc:sldChg>
      <pc:sldChg chg="del">
        <pc:chgData name="Sot, Urszula" userId="2a6be684-0ce0-42e4-a93c-6ee6cc224c18" providerId="ADAL" clId="{0A6D4C1C-927C-4363-ADA2-D0C311F1078F}" dt="2022-12-02T11:53:20.991" v="187" actId="2696"/>
        <pc:sldMkLst>
          <pc:docMk/>
          <pc:sldMk cId="3059453883" sldId="2147470413"/>
        </pc:sldMkLst>
      </pc:sldChg>
      <pc:sldChg chg="addSp delSp modSp mod">
        <pc:chgData name="Sot, Urszula" userId="2a6be684-0ce0-42e4-a93c-6ee6cc224c18" providerId="ADAL" clId="{0A6D4C1C-927C-4363-ADA2-D0C311F1078F}" dt="2022-12-07T19:21:31.774" v="4560"/>
        <pc:sldMkLst>
          <pc:docMk/>
          <pc:sldMk cId="1822753420" sldId="2147470414"/>
        </pc:sldMkLst>
        <pc:spChg chg="del">
          <ac:chgData name="Sot, Urszula" userId="2a6be684-0ce0-42e4-a93c-6ee6cc224c18" providerId="ADAL" clId="{0A6D4C1C-927C-4363-ADA2-D0C311F1078F}" dt="2022-12-07T15:33:23.360" v="3738" actId="21"/>
          <ac:spMkLst>
            <pc:docMk/>
            <pc:sldMk cId="1822753420" sldId="2147470414"/>
            <ac:spMk id="3" creationId="{816CDC30-3399-BA12-5D28-D543B0006E58}"/>
          </ac:spMkLst>
        </pc:spChg>
        <pc:spChg chg="del">
          <ac:chgData name="Sot, Urszula" userId="2a6be684-0ce0-42e4-a93c-6ee6cc224c18" providerId="ADAL" clId="{0A6D4C1C-927C-4363-ADA2-D0C311F1078F}" dt="2022-12-07T15:35:15.909" v="3752" actId="21"/>
          <ac:spMkLst>
            <pc:docMk/>
            <pc:sldMk cId="1822753420" sldId="2147470414"/>
            <ac:spMk id="4" creationId="{1B5DACC2-AA43-ED0F-1FFD-629DFA466996}"/>
          </ac:spMkLst>
        </pc:spChg>
        <pc:spChg chg="add mod">
          <ac:chgData name="Sot, Urszula" userId="2a6be684-0ce0-42e4-a93c-6ee6cc224c18" providerId="ADAL" clId="{0A6D4C1C-927C-4363-ADA2-D0C311F1078F}" dt="2022-12-07T15:35:58.836" v="3757" actId="1076"/>
          <ac:spMkLst>
            <pc:docMk/>
            <pc:sldMk cId="1822753420" sldId="2147470414"/>
            <ac:spMk id="15" creationId="{6C30CC46-2119-477C-8057-7397E8BC8BE0}"/>
          </ac:spMkLst>
        </pc:spChg>
        <pc:spChg chg="add mod">
          <ac:chgData name="Sot, Urszula" userId="2a6be684-0ce0-42e4-a93c-6ee6cc224c18" providerId="ADAL" clId="{0A6D4C1C-927C-4363-ADA2-D0C311F1078F}" dt="2022-12-07T15:36:00.640" v="3758" actId="1076"/>
          <ac:spMkLst>
            <pc:docMk/>
            <pc:sldMk cId="1822753420" sldId="2147470414"/>
            <ac:spMk id="16" creationId="{D237845C-F836-48E0-A5B2-CBEFCA79EFEC}"/>
          </ac:spMkLst>
        </pc:spChg>
        <pc:spChg chg="add mod">
          <ac:chgData name="Sot, Urszula" userId="2a6be684-0ce0-42e4-a93c-6ee6cc224c18" providerId="ADAL" clId="{0A6D4C1C-927C-4363-ADA2-D0C311F1078F}" dt="2022-12-07T15:36:57.703" v="3801" actId="1076"/>
          <ac:spMkLst>
            <pc:docMk/>
            <pc:sldMk cId="1822753420" sldId="2147470414"/>
            <ac:spMk id="17" creationId="{61520B34-CEF6-4A87-8886-EB6018CB504F}"/>
          </ac:spMkLst>
        </pc:spChg>
        <pc:spChg chg="add mod">
          <ac:chgData name="Sot, Urszula" userId="2a6be684-0ce0-42e4-a93c-6ee6cc224c18" providerId="ADAL" clId="{0A6D4C1C-927C-4363-ADA2-D0C311F1078F}" dt="2022-12-07T19:10:47.278" v="4444"/>
          <ac:spMkLst>
            <pc:docMk/>
            <pc:sldMk cId="1822753420" sldId="2147470414"/>
            <ac:spMk id="18" creationId="{7DBBB834-43FF-4821-85EC-C82F90380F0F}"/>
          </ac:spMkLst>
        </pc:spChg>
        <pc:spChg chg="mod">
          <ac:chgData name="Sot, Urszula" userId="2a6be684-0ce0-42e4-a93c-6ee6cc224c18" providerId="ADAL" clId="{0A6D4C1C-927C-4363-ADA2-D0C311F1078F}" dt="2022-12-07T19:21:31.774" v="4560"/>
          <ac:spMkLst>
            <pc:docMk/>
            <pc:sldMk cId="1822753420" sldId="2147470414"/>
            <ac:spMk id="20" creationId="{DC097F73-B46E-48D6-87C3-18DD98B3993F}"/>
          </ac:spMkLst>
        </pc:spChg>
        <pc:spChg chg="mod">
          <ac:chgData name="Sot, Urszula" userId="2a6be684-0ce0-42e4-a93c-6ee6cc224c18" providerId="ADAL" clId="{0A6D4C1C-927C-4363-ADA2-D0C311F1078F}" dt="2022-12-07T19:21:31.774" v="4560"/>
          <ac:spMkLst>
            <pc:docMk/>
            <pc:sldMk cId="1822753420" sldId="2147470414"/>
            <ac:spMk id="23" creationId="{78837229-62A6-41B8-84FB-6BDB5EDEA459}"/>
          </ac:spMkLst>
        </pc:spChg>
        <pc:spChg chg="mod">
          <ac:chgData name="Sot, Urszula" userId="2a6be684-0ce0-42e4-a93c-6ee6cc224c18" providerId="ADAL" clId="{0A6D4C1C-927C-4363-ADA2-D0C311F1078F}" dt="2022-12-07T19:21:31.774" v="4560"/>
          <ac:spMkLst>
            <pc:docMk/>
            <pc:sldMk cId="1822753420" sldId="2147470414"/>
            <ac:spMk id="24" creationId="{FECA962A-C8BE-4415-B39D-2E2C596D1AE8}"/>
          </ac:spMkLst>
        </pc:spChg>
        <pc:spChg chg="mod">
          <ac:chgData name="Sot, Urszula" userId="2a6be684-0ce0-42e4-a93c-6ee6cc224c18" providerId="ADAL" clId="{0A6D4C1C-927C-4363-ADA2-D0C311F1078F}" dt="2022-12-07T19:21:31.774" v="4560"/>
          <ac:spMkLst>
            <pc:docMk/>
            <pc:sldMk cId="1822753420" sldId="2147470414"/>
            <ac:spMk id="25" creationId="{6CBB48DE-E1EE-4003-925D-D2F32B32617A}"/>
          </ac:spMkLst>
        </pc:spChg>
        <pc:spChg chg="mod">
          <ac:chgData name="Sot, Urszula" userId="2a6be684-0ce0-42e4-a93c-6ee6cc224c18" providerId="ADAL" clId="{0A6D4C1C-927C-4363-ADA2-D0C311F1078F}" dt="2022-12-07T19:21:31.774" v="4560"/>
          <ac:spMkLst>
            <pc:docMk/>
            <pc:sldMk cId="1822753420" sldId="2147470414"/>
            <ac:spMk id="26" creationId="{9B85F78D-5D22-4777-87D5-0253D3ACEF04}"/>
          </ac:spMkLst>
        </pc:spChg>
        <pc:spChg chg="del">
          <ac:chgData name="Sot, Urszula" userId="2a6be684-0ce0-42e4-a93c-6ee6cc224c18" providerId="ADAL" clId="{0A6D4C1C-927C-4363-ADA2-D0C311F1078F}" dt="2022-12-07T15:33:25.274" v="3739" actId="21"/>
          <ac:spMkLst>
            <pc:docMk/>
            <pc:sldMk cId="1822753420" sldId="2147470414"/>
            <ac:spMk id="49" creationId="{606181A0-29B7-4044-AD17-3D98199B9297}"/>
          </ac:spMkLst>
        </pc:spChg>
        <pc:spChg chg="mod">
          <ac:chgData name="Sot, Urszula" userId="2a6be684-0ce0-42e4-a93c-6ee6cc224c18" providerId="ADAL" clId="{0A6D4C1C-927C-4363-ADA2-D0C311F1078F}" dt="2022-12-07T15:38:50.768" v="3830" actId="20577"/>
          <ac:spMkLst>
            <pc:docMk/>
            <pc:sldMk cId="1822753420" sldId="2147470414"/>
            <ac:spMk id="59" creationId="{8D355B63-BA9C-7D45-86E4-9F3D1FFFC5E8}"/>
          </ac:spMkLst>
        </pc:spChg>
        <pc:spChg chg="mod">
          <ac:chgData name="Sot, Urszula" userId="2a6be684-0ce0-42e4-a93c-6ee6cc224c18" providerId="ADAL" clId="{0A6D4C1C-927C-4363-ADA2-D0C311F1078F}" dt="2022-12-07T15:36:24.070" v="3796" actId="20577"/>
          <ac:spMkLst>
            <pc:docMk/>
            <pc:sldMk cId="1822753420" sldId="2147470414"/>
            <ac:spMk id="60" creationId="{4A0FD5EE-4675-424C-82CB-7BD7D8F626BF}"/>
          </ac:spMkLst>
        </pc:spChg>
        <pc:grpChg chg="add mod">
          <ac:chgData name="Sot, Urszula" userId="2a6be684-0ce0-42e4-a93c-6ee6cc224c18" providerId="ADAL" clId="{0A6D4C1C-927C-4363-ADA2-D0C311F1078F}" dt="2022-12-07T19:21:31.774" v="4560"/>
          <ac:grpSpMkLst>
            <pc:docMk/>
            <pc:sldMk cId="1822753420" sldId="2147470414"/>
            <ac:grpSpMk id="19" creationId="{F77593E1-0D06-4435-A98B-9A63E168F92E}"/>
          </ac:grpSpMkLst>
        </pc:grpChg>
        <pc:graphicFrameChg chg="del">
          <ac:chgData name="Sot, Urszula" userId="2a6be684-0ce0-42e4-a93c-6ee6cc224c18" providerId="ADAL" clId="{0A6D4C1C-927C-4363-ADA2-D0C311F1078F}" dt="2022-12-07T15:34:08.215" v="3745" actId="21"/>
          <ac:graphicFrameMkLst>
            <pc:docMk/>
            <pc:sldMk cId="1822753420" sldId="2147470414"/>
            <ac:graphicFrameMk id="5" creationId="{A65DCF4D-86DA-84F9-B674-4913373E5DFE}"/>
          </ac:graphicFrameMkLst>
        </pc:graphicFrameChg>
        <pc:picChg chg="del">
          <ac:chgData name="Sot, Urszula" userId="2a6be684-0ce0-42e4-a93c-6ee6cc224c18" providerId="ADAL" clId="{0A6D4C1C-927C-4363-ADA2-D0C311F1078F}" dt="2022-12-07T15:33:20.342" v="3737" actId="21"/>
          <ac:picMkLst>
            <pc:docMk/>
            <pc:sldMk cId="1822753420" sldId="2147470414"/>
            <ac:picMk id="6" creationId="{62B1725B-B67C-13FD-D9D4-1C9B9EE0E8BF}"/>
          </ac:picMkLst>
        </pc:picChg>
        <pc:picChg chg="add mod">
          <ac:chgData name="Sot, Urszula" userId="2a6be684-0ce0-42e4-a93c-6ee6cc224c18" providerId="ADAL" clId="{0A6D4C1C-927C-4363-ADA2-D0C311F1078F}" dt="2022-12-07T15:35:56.092" v="3756" actId="1076"/>
          <ac:picMkLst>
            <pc:docMk/>
            <pc:sldMk cId="1822753420" sldId="2147470414"/>
            <ac:picMk id="14" creationId="{97869C10-7167-4D74-9425-34339A17EB47}"/>
          </ac:picMkLst>
        </pc:picChg>
      </pc:sldChg>
      <pc:sldChg chg="delSp modSp del mod">
        <pc:chgData name="Sot, Urszula" userId="2a6be684-0ce0-42e4-a93c-6ee6cc224c18" providerId="ADAL" clId="{0A6D4C1C-927C-4363-ADA2-D0C311F1078F}" dt="2022-12-07T13:35:04.414" v="2470" actId="2696"/>
        <pc:sldMkLst>
          <pc:docMk/>
          <pc:sldMk cId="4014668286" sldId="2147470415"/>
        </pc:sldMkLst>
        <pc:spChg chg="mod">
          <ac:chgData name="Sot, Urszula" userId="2a6be684-0ce0-42e4-a93c-6ee6cc224c18" providerId="ADAL" clId="{0A6D4C1C-927C-4363-ADA2-D0C311F1078F}" dt="2022-12-07T12:27:27.667" v="2305" actId="255"/>
          <ac:spMkLst>
            <pc:docMk/>
            <pc:sldMk cId="4014668286" sldId="2147470415"/>
            <ac:spMk id="35" creationId="{1FC7F783-B89B-4CCD-8E3A-9B4F07463E23}"/>
          </ac:spMkLst>
        </pc:spChg>
        <pc:spChg chg="mod">
          <ac:chgData name="Sot, Urszula" userId="2a6be684-0ce0-42e4-a93c-6ee6cc224c18" providerId="ADAL" clId="{0A6D4C1C-927C-4363-ADA2-D0C311F1078F}" dt="2022-12-07T12:27:34.539" v="2306" actId="14100"/>
          <ac:spMkLst>
            <pc:docMk/>
            <pc:sldMk cId="4014668286" sldId="2147470415"/>
            <ac:spMk id="36" creationId="{8A191059-CF13-4385-8D1C-5DB0DFEC2666}"/>
          </ac:spMkLst>
        </pc:spChg>
        <pc:graphicFrameChg chg="del">
          <ac:chgData name="Sot, Urszula" userId="2a6be684-0ce0-42e4-a93c-6ee6cc224c18" providerId="ADAL" clId="{0A6D4C1C-927C-4363-ADA2-D0C311F1078F}" dt="2022-12-07T12:21:29.830" v="2182" actId="21"/>
          <ac:graphicFrameMkLst>
            <pc:docMk/>
            <pc:sldMk cId="4014668286" sldId="2147470415"/>
            <ac:graphicFrameMk id="3" creationId="{055F52F6-F9B7-F078-6F18-D243F5ECE7F7}"/>
          </ac:graphicFrameMkLst>
        </pc:graphicFrameChg>
      </pc:sldChg>
      <pc:sldChg chg="addSp delSp modSp mod">
        <pc:chgData name="Sot, Urszula" userId="2a6be684-0ce0-42e4-a93c-6ee6cc224c18" providerId="ADAL" clId="{0A6D4C1C-927C-4363-ADA2-D0C311F1078F}" dt="2022-12-07T19:21:14.407" v="4551" actId="1076"/>
        <pc:sldMkLst>
          <pc:docMk/>
          <pc:sldMk cId="4132059087" sldId="2147470416"/>
        </pc:sldMkLst>
        <pc:spChg chg="mod">
          <ac:chgData name="Sot, Urszula" userId="2a6be684-0ce0-42e4-a93c-6ee6cc224c18" providerId="ADAL" clId="{0A6D4C1C-927C-4363-ADA2-D0C311F1078F}" dt="2022-12-07T19:14:47.575" v="4521" actId="207"/>
          <ac:spMkLst>
            <pc:docMk/>
            <pc:sldMk cId="4132059087" sldId="2147470416"/>
            <ac:spMk id="2" creationId="{F4EE0ADB-6DEB-43AF-83D8-EF6D73907582}"/>
          </ac:spMkLst>
        </pc:spChg>
        <pc:spChg chg="mod">
          <ac:chgData name="Sot, Urszula" userId="2a6be684-0ce0-42e4-a93c-6ee6cc224c18" providerId="ADAL" clId="{0A6D4C1C-927C-4363-ADA2-D0C311F1078F}" dt="2022-12-07T13:26:01.903" v="2456"/>
          <ac:spMkLst>
            <pc:docMk/>
            <pc:sldMk cId="4132059087" sldId="2147470416"/>
            <ac:spMk id="4" creationId="{8733D0D3-5F7D-DE4D-BEEC-8628403F89E8}"/>
          </ac:spMkLst>
        </pc:spChg>
        <pc:spChg chg="mod">
          <ac:chgData name="Sot, Urszula" userId="2a6be684-0ce0-42e4-a93c-6ee6cc224c18" providerId="ADAL" clId="{0A6D4C1C-927C-4363-ADA2-D0C311F1078F}" dt="2022-12-07T13:30:15.659" v="2467"/>
          <ac:spMkLst>
            <pc:docMk/>
            <pc:sldMk cId="4132059087" sldId="2147470416"/>
            <ac:spMk id="5" creationId="{80904930-08C1-42A4-BC15-75CAB58D91D9}"/>
          </ac:spMkLst>
        </pc:spChg>
        <pc:spChg chg="mod">
          <ac:chgData name="Sot, Urszula" userId="2a6be684-0ce0-42e4-a93c-6ee6cc224c18" providerId="ADAL" clId="{0A6D4C1C-927C-4363-ADA2-D0C311F1078F}" dt="2022-12-07T13:29:06.379" v="2465" actId="20577"/>
          <ac:spMkLst>
            <pc:docMk/>
            <pc:sldMk cId="4132059087" sldId="2147470416"/>
            <ac:spMk id="12" creationId="{39DB1593-9223-E041-B0E5-FCF7EDC6DE7A}"/>
          </ac:spMkLst>
        </pc:spChg>
        <pc:spChg chg="add mod">
          <ac:chgData name="Sot, Urszula" userId="2a6be684-0ce0-42e4-a93c-6ee6cc224c18" providerId="ADAL" clId="{0A6D4C1C-927C-4363-ADA2-D0C311F1078F}" dt="2022-12-07T19:10:18.322" v="4434"/>
          <ac:spMkLst>
            <pc:docMk/>
            <pc:sldMk cId="4132059087" sldId="2147470416"/>
            <ac:spMk id="16" creationId="{9144E3A8-ABE1-4AB5-9223-DB420BE9C270}"/>
          </ac:spMkLst>
        </pc:spChg>
        <pc:spChg chg="mod">
          <ac:chgData name="Sot, Urszula" userId="2a6be684-0ce0-42e4-a93c-6ee6cc224c18" providerId="ADAL" clId="{0A6D4C1C-927C-4363-ADA2-D0C311F1078F}" dt="2022-12-07T19:20:42.595" v="4537" actId="207"/>
          <ac:spMkLst>
            <pc:docMk/>
            <pc:sldMk cId="4132059087" sldId="2147470416"/>
            <ac:spMk id="18" creationId="{52968A46-4BD4-4BF8-98AA-85C8F96546E6}"/>
          </ac:spMkLst>
        </pc:spChg>
        <pc:spChg chg="mod">
          <ac:chgData name="Sot, Urszula" userId="2a6be684-0ce0-42e4-a93c-6ee6cc224c18" providerId="ADAL" clId="{0A6D4C1C-927C-4363-ADA2-D0C311F1078F}" dt="2022-12-07T19:20:42.595" v="4537" actId="207"/>
          <ac:spMkLst>
            <pc:docMk/>
            <pc:sldMk cId="4132059087" sldId="2147470416"/>
            <ac:spMk id="19" creationId="{E00A81DC-199C-483C-8813-363115A7135D}"/>
          </ac:spMkLst>
        </pc:spChg>
        <pc:spChg chg="mod">
          <ac:chgData name="Sot, Urszula" userId="2a6be684-0ce0-42e4-a93c-6ee6cc224c18" providerId="ADAL" clId="{0A6D4C1C-927C-4363-ADA2-D0C311F1078F}" dt="2022-12-07T19:21:14.407" v="4551" actId="1076"/>
          <ac:spMkLst>
            <pc:docMk/>
            <pc:sldMk cId="4132059087" sldId="2147470416"/>
            <ac:spMk id="20" creationId="{DCD268A8-E710-4F91-A25C-B1BCCEEFE80D}"/>
          </ac:spMkLst>
        </pc:spChg>
        <pc:spChg chg="mod">
          <ac:chgData name="Sot, Urszula" userId="2a6be684-0ce0-42e4-a93c-6ee6cc224c18" providerId="ADAL" clId="{0A6D4C1C-927C-4363-ADA2-D0C311F1078F}" dt="2022-12-07T19:20:57.430" v="4550" actId="1076"/>
          <ac:spMkLst>
            <pc:docMk/>
            <pc:sldMk cId="4132059087" sldId="2147470416"/>
            <ac:spMk id="23" creationId="{1A625B05-7AE3-41D8-BEEC-020A7DF5DA91}"/>
          </ac:spMkLst>
        </pc:spChg>
        <pc:spChg chg="mod">
          <ac:chgData name="Sot, Urszula" userId="2a6be684-0ce0-42e4-a93c-6ee6cc224c18" providerId="ADAL" clId="{0A6D4C1C-927C-4363-ADA2-D0C311F1078F}" dt="2022-12-07T19:20:42.595" v="4537" actId="207"/>
          <ac:spMkLst>
            <pc:docMk/>
            <pc:sldMk cId="4132059087" sldId="2147470416"/>
            <ac:spMk id="24" creationId="{DD80F46D-7894-468F-902E-3F50EF0B430B}"/>
          </ac:spMkLst>
        </pc:spChg>
        <pc:spChg chg="mod">
          <ac:chgData name="Sot, Urszula" userId="2a6be684-0ce0-42e4-a93c-6ee6cc224c18" providerId="ADAL" clId="{0A6D4C1C-927C-4363-ADA2-D0C311F1078F}" dt="2022-12-07T12:30:08.639" v="2331" actId="6549"/>
          <ac:spMkLst>
            <pc:docMk/>
            <pc:sldMk cId="4132059087" sldId="2147470416"/>
            <ac:spMk id="29" creationId="{8E338145-BFE7-4A7F-A171-D3829AE1AB58}"/>
          </ac:spMkLst>
        </pc:spChg>
        <pc:grpChg chg="add mod">
          <ac:chgData name="Sot, Urszula" userId="2a6be684-0ce0-42e4-a93c-6ee6cc224c18" providerId="ADAL" clId="{0A6D4C1C-927C-4363-ADA2-D0C311F1078F}" dt="2022-12-07T19:20:42.595" v="4537" actId="207"/>
          <ac:grpSpMkLst>
            <pc:docMk/>
            <pc:sldMk cId="4132059087" sldId="2147470416"/>
            <ac:grpSpMk id="17" creationId="{794FF4BA-DA76-4FAD-A60E-5F626E48F143}"/>
          </ac:grpSpMkLst>
        </pc:grpChg>
        <pc:graphicFrameChg chg="del">
          <ac:chgData name="Sot, Urszula" userId="2a6be684-0ce0-42e4-a93c-6ee6cc224c18" providerId="ADAL" clId="{0A6D4C1C-927C-4363-ADA2-D0C311F1078F}" dt="2022-12-07T12:28:23.708" v="2307" actId="21"/>
          <ac:graphicFrameMkLst>
            <pc:docMk/>
            <pc:sldMk cId="4132059087" sldId="2147470416"/>
            <ac:graphicFrameMk id="6" creationId="{D8F6607C-21DE-42EE-0184-E0886F2CBDFB}"/>
          </ac:graphicFrameMkLst>
        </pc:graphicFrameChg>
        <pc:picChg chg="add del mod">
          <ac:chgData name="Sot, Urszula" userId="2a6be684-0ce0-42e4-a93c-6ee6cc224c18" providerId="ADAL" clId="{0A6D4C1C-927C-4363-ADA2-D0C311F1078F}" dt="2022-12-07T13:28:49.335" v="2463" actId="21"/>
          <ac:picMkLst>
            <pc:docMk/>
            <pc:sldMk cId="4132059087" sldId="2147470416"/>
            <ac:picMk id="8" creationId="{199B703C-9F2A-4EB6-BB97-81FBE969C04C}"/>
          </ac:picMkLst>
        </pc:picChg>
      </pc:sldChg>
      <pc:sldChg chg="addSp delSp modSp mod">
        <pc:chgData name="Sot, Urszula" userId="2a6be684-0ce0-42e4-a93c-6ee6cc224c18" providerId="ADAL" clId="{0A6D4C1C-927C-4363-ADA2-D0C311F1078F}" dt="2022-12-07T19:24:28.523" v="4565" actId="207"/>
        <pc:sldMkLst>
          <pc:docMk/>
          <pc:sldMk cId="1449051479" sldId="2147470417"/>
        </pc:sldMkLst>
        <pc:spChg chg="add mod">
          <ac:chgData name="Sot, Urszula" userId="2a6be684-0ce0-42e4-a93c-6ee6cc224c18" providerId="ADAL" clId="{0A6D4C1C-927C-4363-ADA2-D0C311F1078F}" dt="2022-12-07T13:52:30.945" v="2654" actId="14100"/>
          <ac:spMkLst>
            <pc:docMk/>
            <pc:sldMk cId="1449051479" sldId="2147470417"/>
            <ac:spMk id="11" creationId="{15EAC3F9-C241-4175-BCA7-651584FF3446}"/>
          </ac:spMkLst>
        </pc:spChg>
        <pc:spChg chg="add mod">
          <ac:chgData name="Sot, Urszula" userId="2a6be684-0ce0-42e4-a93c-6ee6cc224c18" providerId="ADAL" clId="{0A6D4C1C-927C-4363-ADA2-D0C311F1078F}" dt="2022-12-07T19:10:21.650" v="4435"/>
          <ac:spMkLst>
            <pc:docMk/>
            <pc:sldMk cId="1449051479" sldId="2147470417"/>
            <ac:spMk id="12" creationId="{CAC1A6E0-2BB0-4481-A17F-3FCC58DF38AA}"/>
          </ac:spMkLst>
        </pc:spChg>
        <pc:spChg chg="mod">
          <ac:chgData name="Sot, Urszula" userId="2a6be684-0ce0-42e4-a93c-6ee6cc224c18" providerId="ADAL" clId="{0A6D4C1C-927C-4363-ADA2-D0C311F1078F}" dt="2022-12-07T19:21:20.700" v="4552"/>
          <ac:spMkLst>
            <pc:docMk/>
            <pc:sldMk cId="1449051479" sldId="2147470417"/>
            <ac:spMk id="14" creationId="{93E9692C-CAE4-4651-85D9-9BFC70917854}"/>
          </ac:spMkLst>
        </pc:spChg>
        <pc:spChg chg="mod">
          <ac:chgData name="Sot, Urszula" userId="2a6be684-0ce0-42e4-a93c-6ee6cc224c18" providerId="ADAL" clId="{0A6D4C1C-927C-4363-ADA2-D0C311F1078F}" dt="2022-12-07T19:21:20.700" v="4552"/>
          <ac:spMkLst>
            <pc:docMk/>
            <pc:sldMk cId="1449051479" sldId="2147470417"/>
            <ac:spMk id="15" creationId="{FB75FA83-04E9-4F5E-A38D-B78BFDDCC313}"/>
          </ac:spMkLst>
        </pc:spChg>
        <pc:spChg chg="mod">
          <ac:chgData name="Sot, Urszula" userId="2a6be684-0ce0-42e4-a93c-6ee6cc224c18" providerId="ADAL" clId="{0A6D4C1C-927C-4363-ADA2-D0C311F1078F}" dt="2022-12-07T19:21:20.700" v="4552"/>
          <ac:spMkLst>
            <pc:docMk/>
            <pc:sldMk cId="1449051479" sldId="2147470417"/>
            <ac:spMk id="16" creationId="{926AA7DC-C5C5-4DC2-8CA4-0B3017A7D43F}"/>
          </ac:spMkLst>
        </pc:spChg>
        <pc:spChg chg="mod">
          <ac:chgData name="Sot, Urszula" userId="2a6be684-0ce0-42e4-a93c-6ee6cc224c18" providerId="ADAL" clId="{0A6D4C1C-927C-4363-ADA2-D0C311F1078F}" dt="2022-12-07T19:21:20.700" v="4552"/>
          <ac:spMkLst>
            <pc:docMk/>
            <pc:sldMk cId="1449051479" sldId="2147470417"/>
            <ac:spMk id="17" creationId="{94DA5668-261A-45F8-95DB-9F72CE466182}"/>
          </ac:spMkLst>
        </pc:spChg>
        <pc:spChg chg="mod">
          <ac:chgData name="Sot, Urszula" userId="2a6be684-0ce0-42e4-a93c-6ee6cc224c18" providerId="ADAL" clId="{0A6D4C1C-927C-4363-ADA2-D0C311F1078F}" dt="2022-12-07T19:21:20.700" v="4552"/>
          <ac:spMkLst>
            <pc:docMk/>
            <pc:sldMk cId="1449051479" sldId="2147470417"/>
            <ac:spMk id="18" creationId="{2555B0AE-52C3-43EB-B5A9-EAEB9DE86684}"/>
          </ac:spMkLst>
        </pc:spChg>
        <pc:spChg chg="mod">
          <ac:chgData name="Sot, Urszula" userId="2a6be684-0ce0-42e4-a93c-6ee6cc224c18" providerId="ADAL" clId="{0A6D4C1C-927C-4363-ADA2-D0C311F1078F}" dt="2022-12-07T19:14:49.902" v="4522" actId="207"/>
          <ac:spMkLst>
            <pc:docMk/>
            <pc:sldMk cId="1449051479" sldId="2147470417"/>
            <ac:spMk id="34" creationId="{F545D470-5193-9340-BE75-01AADC08735F}"/>
          </ac:spMkLst>
        </pc:spChg>
        <pc:spChg chg="mod">
          <ac:chgData name="Sot, Urszula" userId="2a6be684-0ce0-42e4-a93c-6ee6cc224c18" providerId="ADAL" clId="{0A6D4C1C-927C-4363-ADA2-D0C311F1078F}" dt="2022-12-07T19:24:28.523" v="4565" actId="207"/>
          <ac:spMkLst>
            <pc:docMk/>
            <pc:sldMk cId="1449051479" sldId="2147470417"/>
            <ac:spMk id="35" creationId="{7B6E68F6-254F-A14B-8F54-BA546424E1F7}"/>
          </ac:spMkLst>
        </pc:spChg>
        <pc:spChg chg="mod">
          <ac:chgData name="Sot, Urszula" userId="2a6be684-0ce0-42e4-a93c-6ee6cc224c18" providerId="ADAL" clId="{0A6D4C1C-927C-4363-ADA2-D0C311F1078F}" dt="2022-12-07T13:51:25.545" v="2632" actId="113"/>
          <ac:spMkLst>
            <pc:docMk/>
            <pc:sldMk cId="1449051479" sldId="2147470417"/>
            <ac:spMk id="37" creationId="{30C79569-493C-F741-94FC-509B212B9112}"/>
          </ac:spMkLst>
        </pc:spChg>
        <pc:grpChg chg="add mod">
          <ac:chgData name="Sot, Urszula" userId="2a6be684-0ce0-42e4-a93c-6ee6cc224c18" providerId="ADAL" clId="{0A6D4C1C-927C-4363-ADA2-D0C311F1078F}" dt="2022-12-07T19:21:20.700" v="4552"/>
          <ac:grpSpMkLst>
            <pc:docMk/>
            <pc:sldMk cId="1449051479" sldId="2147470417"/>
            <ac:grpSpMk id="13" creationId="{180E1FC0-34ED-4942-BDC2-249E44B83CCC}"/>
          </ac:grpSpMkLst>
        </pc:grpChg>
        <pc:graphicFrameChg chg="del">
          <ac:chgData name="Sot, Urszula" userId="2a6be684-0ce0-42e4-a93c-6ee6cc224c18" providerId="ADAL" clId="{0A6D4C1C-927C-4363-ADA2-D0C311F1078F}" dt="2022-12-07T13:33:39.004" v="2468" actId="21"/>
          <ac:graphicFrameMkLst>
            <pc:docMk/>
            <pc:sldMk cId="1449051479" sldId="2147470417"/>
            <ac:graphicFrameMk id="2" creationId="{9780E7C9-C5BE-3ED0-0D47-242C0EE966E5}"/>
          </ac:graphicFrameMkLst>
        </pc:graphicFrameChg>
        <pc:picChg chg="del">
          <ac:chgData name="Sot, Urszula" userId="2a6be684-0ce0-42e4-a93c-6ee6cc224c18" providerId="ADAL" clId="{0A6D4C1C-927C-4363-ADA2-D0C311F1078F}" dt="2022-12-07T13:42:45.587" v="2489" actId="21"/>
          <ac:picMkLst>
            <pc:docMk/>
            <pc:sldMk cId="1449051479" sldId="2147470417"/>
            <ac:picMk id="4" creationId="{E14B69F7-3EDF-9928-467E-4685AE610B4A}"/>
          </ac:picMkLst>
        </pc:picChg>
        <pc:picChg chg="add mod">
          <ac:chgData name="Sot, Urszula" userId="2a6be684-0ce0-42e4-a93c-6ee6cc224c18" providerId="ADAL" clId="{0A6D4C1C-927C-4363-ADA2-D0C311F1078F}" dt="2022-12-07T13:53:34.465" v="2674" actId="1076"/>
          <ac:picMkLst>
            <pc:docMk/>
            <pc:sldMk cId="1449051479" sldId="2147470417"/>
            <ac:picMk id="5" creationId="{AA3E8C3D-CD6A-449C-8EAA-D05CA0284100}"/>
          </ac:picMkLst>
        </pc:picChg>
      </pc:sldChg>
      <pc:sldChg chg="addSp delSp modSp mod">
        <pc:chgData name="Sot, Urszula" userId="2a6be684-0ce0-42e4-a93c-6ee6cc224c18" providerId="ADAL" clId="{0A6D4C1C-927C-4363-ADA2-D0C311F1078F}" dt="2022-12-07T19:21:22.854" v="4553"/>
        <pc:sldMkLst>
          <pc:docMk/>
          <pc:sldMk cId="963027436" sldId="2147470418"/>
        </pc:sldMkLst>
        <pc:spChg chg="mod">
          <ac:chgData name="Sot, Urszula" userId="2a6be684-0ce0-42e4-a93c-6ee6cc224c18" providerId="ADAL" clId="{0A6D4C1C-927C-4363-ADA2-D0C311F1078F}" dt="2022-12-07T14:07:13.087" v="2881"/>
          <ac:spMkLst>
            <pc:docMk/>
            <pc:sldMk cId="963027436" sldId="2147470418"/>
            <ac:spMk id="2" creationId="{07779D76-E95D-AFC8-B649-5B81779E7083}"/>
          </ac:spMkLst>
        </pc:spChg>
        <pc:spChg chg="add mod">
          <ac:chgData name="Sot, Urszula" userId="2a6be684-0ce0-42e4-a93c-6ee6cc224c18" providerId="ADAL" clId="{0A6D4C1C-927C-4363-ADA2-D0C311F1078F}" dt="2022-12-07T14:01:43.583" v="2866" actId="20577"/>
          <ac:spMkLst>
            <pc:docMk/>
            <pc:sldMk cId="963027436" sldId="2147470418"/>
            <ac:spMk id="11" creationId="{154F71F0-2C22-4D5F-909A-32E10C2458F4}"/>
          </ac:spMkLst>
        </pc:spChg>
        <pc:spChg chg="add mod">
          <ac:chgData name="Sot, Urszula" userId="2a6be684-0ce0-42e4-a93c-6ee6cc224c18" providerId="ADAL" clId="{0A6D4C1C-927C-4363-ADA2-D0C311F1078F}" dt="2022-12-07T19:10:24.611" v="4436"/>
          <ac:spMkLst>
            <pc:docMk/>
            <pc:sldMk cId="963027436" sldId="2147470418"/>
            <ac:spMk id="12" creationId="{DF88D9EA-5DF1-4A58-93EA-7237817C5C03}"/>
          </ac:spMkLst>
        </pc:spChg>
        <pc:spChg chg="mod">
          <ac:chgData name="Sot, Urszula" userId="2a6be684-0ce0-42e4-a93c-6ee6cc224c18" providerId="ADAL" clId="{0A6D4C1C-927C-4363-ADA2-D0C311F1078F}" dt="2022-12-07T19:21:22.854" v="4553"/>
          <ac:spMkLst>
            <pc:docMk/>
            <pc:sldMk cId="963027436" sldId="2147470418"/>
            <ac:spMk id="14" creationId="{72D04254-57A7-46E6-8877-00655B4BBB6E}"/>
          </ac:spMkLst>
        </pc:spChg>
        <pc:spChg chg="mod">
          <ac:chgData name="Sot, Urszula" userId="2a6be684-0ce0-42e4-a93c-6ee6cc224c18" providerId="ADAL" clId="{0A6D4C1C-927C-4363-ADA2-D0C311F1078F}" dt="2022-12-07T19:21:22.854" v="4553"/>
          <ac:spMkLst>
            <pc:docMk/>
            <pc:sldMk cId="963027436" sldId="2147470418"/>
            <ac:spMk id="15" creationId="{9D363CD1-0DC8-49EB-98C7-6F78C674B7C3}"/>
          </ac:spMkLst>
        </pc:spChg>
        <pc:spChg chg="mod">
          <ac:chgData name="Sot, Urszula" userId="2a6be684-0ce0-42e4-a93c-6ee6cc224c18" providerId="ADAL" clId="{0A6D4C1C-927C-4363-ADA2-D0C311F1078F}" dt="2022-12-07T19:21:22.854" v="4553"/>
          <ac:spMkLst>
            <pc:docMk/>
            <pc:sldMk cId="963027436" sldId="2147470418"/>
            <ac:spMk id="16" creationId="{805BAC8E-155F-4725-8228-41894C087027}"/>
          </ac:spMkLst>
        </pc:spChg>
        <pc:spChg chg="mod">
          <ac:chgData name="Sot, Urszula" userId="2a6be684-0ce0-42e4-a93c-6ee6cc224c18" providerId="ADAL" clId="{0A6D4C1C-927C-4363-ADA2-D0C311F1078F}" dt="2022-12-07T19:21:22.854" v="4553"/>
          <ac:spMkLst>
            <pc:docMk/>
            <pc:sldMk cId="963027436" sldId="2147470418"/>
            <ac:spMk id="17" creationId="{62979533-4854-4A4C-85BE-6AC213C966F9}"/>
          </ac:spMkLst>
        </pc:spChg>
        <pc:spChg chg="mod">
          <ac:chgData name="Sot, Urszula" userId="2a6be684-0ce0-42e4-a93c-6ee6cc224c18" providerId="ADAL" clId="{0A6D4C1C-927C-4363-ADA2-D0C311F1078F}" dt="2022-12-07T19:21:22.854" v="4553"/>
          <ac:spMkLst>
            <pc:docMk/>
            <pc:sldMk cId="963027436" sldId="2147470418"/>
            <ac:spMk id="18" creationId="{05CFFF52-85B5-4DC2-8C74-4630F7016133}"/>
          </ac:spMkLst>
        </pc:spChg>
        <pc:spChg chg="mod">
          <ac:chgData name="Sot, Urszula" userId="2a6be684-0ce0-42e4-a93c-6ee6cc224c18" providerId="ADAL" clId="{0A6D4C1C-927C-4363-ADA2-D0C311F1078F}" dt="2022-12-07T19:14:52.866" v="4523" actId="207"/>
          <ac:spMkLst>
            <pc:docMk/>
            <pc:sldMk cId="963027436" sldId="2147470418"/>
            <ac:spMk id="19" creationId="{C7D10209-C643-784A-86B0-3926B0DDEC2A}"/>
          </ac:spMkLst>
        </pc:spChg>
        <pc:spChg chg="mod">
          <ac:chgData name="Sot, Urszula" userId="2a6be684-0ce0-42e4-a93c-6ee6cc224c18" providerId="ADAL" clId="{0A6D4C1C-927C-4363-ADA2-D0C311F1078F}" dt="2022-12-07T14:00:44.414" v="2851" actId="6549"/>
          <ac:spMkLst>
            <pc:docMk/>
            <pc:sldMk cId="963027436" sldId="2147470418"/>
            <ac:spMk id="20" creationId="{FAFCE9E9-3101-7E4F-9EA9-736C5F68BCA5}"/>
          </ac:spMkLst>
        </pc:spChg>
        <pc:spChg chg="mod">
          <ac:chgData name="Sot, Urszula" userId="2a6be684-0ce0-42e4-a93c-6ee6cc224c18" providerId="ADAL" clId="{0A6D4C1C-927C-4363-ADA2-D0C311F1078F}" dt="2022-12-07T14:02:20.052" v="2869" actId="1076"/>
          <ac:spMkLst>
            <pc:docMk/>
            <pc:sldMk cId="963027436" sldId="2147470418"/>
            <ac:spMk id="23" creationId="{62055637-12F7-914F-8208-1FAF5E45B3AF}"/>
          </ac:spMkLst>
        </pc:spChg>
        <pc:grpChg chg="add mod">
          <ac:chgData name="Sot, Urszula" userId="2a6be684-0ce0-42e4-a93c-6ee6cc224c18" providerId="ADAL" clId="{0A6D4C1C-927C-4363-ADA2-D0C311F1078F}" dt="2022-12-07T19:21:22.854" v="4553"/>
          <ac:grpSpMkLst>
            <pc:docMk/>
            <pc:sldMk cId="963027436" sldId="2147470418"/>
            <ac:grpSpMk id="13" creationId="{220FE68A-7B2A-443A-B231-3170B2E1B1EE}"/>
          </ac:grpSpMkLst>
        </pc:grpChg>
        <pc:graphicFrameChg chg="del">
          <ac:chgData name="Sot, Urszula" userId="2a6be684-0ce0-42e4-a93c-6ee6cc224c18" providerId="ADAL" clId="{0A6D4C1C-927C-4363-ADA2-D0C311F1078F}" dt="2022-12-07T13:51:44.281" v="2633" actId="21"/>
          <ac:graphicFrameMkLst>
            <pc:docMk/>
            <pc:sldMk cId="963027436" sldId="2147470418"/>
            <ac:graphicFrameMk id="4" creationId="{C12ACA6E-D1C1-E4FF-C1BB-DEBA411996CF}"/>
          </ac:graphicFrameMkLst>
        </pc:graphicFrameChg>
        <pc:picChg chg="del">
          <ac:chgData name="Sot, Urszula" userId="2a6be684-0ce0-42e4-a93c-6ee6cc224c18" providerId="ADAL" clId="{0A6D4C1C-927C-4363-ADA2-D0C311F1078F}" dt="2022-12-07T13:53:29.848" v="2673" actId="21"/>
          <ac:picMkLst>
            <pc:docMk/>
            <pc:sldMk cId="963027436" sldId="2147470418"/>
            <ac:picMk id="5" creationId="{B696432F-24CF-87E4-85F1-7C5774CE94A9}"/>
          </ac:picMkLst>
        </pc:picChg>
        <pc:picChg chg="add mod">
          <ac:chgData name="Sot, Urszula" userId="2a6be684-0ce0-42e4-a93c-6ee6cc224c18" providerId="ADAL" clId="{0A6D4C1C-927C-4363-ADA2-D0C311F1078F}" dt="2022-12-07T13:53:42.157" v="2676" actId="1076"/>
          <ac:picMkLst>
            <pc:docMk/>
            <pc:sldMk cId="963027436" sldId="2147470418"/>
            <ac:picMk id="10" creationId="{8F9BA078-4F46-4AB0-A884-6DCEC4795876}"/>
          </ac:picMkLst>
        </pc:picChg>
      </pc:sldChg>
      <pc:sldChg chg="addSp delSp modSp mod">
        <pc:chgData name="Sot, Urszula" userId="2a6be684-0ce0-42e4-a93c-6ee6cc224c18" providerId="ADAL" clId="{0A6D4C1C-927C-4363-ADA2-D0C311F1078F}" dt="2022-12-07T19:21:24.064" v="4554"/>
        <pc:sldMkLst>
          <pc:docMk/>
          <pc:sldMk cId="2620984444" sldId="2147470419"/>
        </pc:sldMkLst>
        <pc:spChg chg="add mod">
          <ac:chgData name="Sot, Urszula" userId="2a6be684-0ce0-42e4-a93c-6ee6cc224c18" providerId="ADAL" clId="{0A6D4C1C-927C-4363-ADA2-D0C311F1078F}" dt="2022-12-07T15:24:55.938" v="3636" actId="207"/>
          <ac:spMkLst>
            <pc:docMk/>
            <pc:sldMk cId="2620984444" sldId="2147470419"/>
            <ac:spMk id="24" creationId="{AFF02104-7F3E-4D00-9737-84EB489BB33B}"/>
          </ac:spMkLst>
        </pc:spChg>
        <pc:spChg chg="add mod">
          <ac:chgData name="Sot, Urszula" userId="2a6be684-0ce0-42e4-a93c-6ee6cc224c18" providerId="ADAL" clId="{0A6D4C1C-927C-4363-ADA2-D0C311F1078F}" dt="2022-12-07T19:10:27.635" v="4437"/>
          <ac:spMkLst>
            <pc:docMk/>
            <pc:sldMk cId="2620984444" sldId="2147470419"/>
            <ac:spMk id="25" creationId="{724D24C2-D538-431C-827E-06974333767C}"/>
          </ac:spMkLst>
        </pc:spChg>
        <pc:spChg chg="mod">
          <ac:chgData name="Sot, Urszula" userId="2a6be684-0ce0-42e4-a93c-6ee6cc224c18" providerId="ADAL" clId="{0A6D4C1C-927C-4363-ADA2-D0C311F1078F}" dt="2022-12-07T19:21:24.064" v="4554"/>
          <ac:spMkLst>
            <pc:docMk/>
            <pc:sldMk cId="2620984444" sldId="2147470419"/>
            <ac:spMk id="27" creationId="{7F2889A9-D613-4DFA-97A6-FE44C8EAFE5F}"/>
          </ac:spMkLst>
        </pc:spChg>
        <pc:spChg chg="mod">
          <ac:chgData name="Sot, Urszula" userId="2a6be684-0ce0-42e4-a93c-6ee6cc224c18" providerId="ADAL" clId="{0A6D4C1C-927C-4363-ADA2-D0C311F1078F}" dt="2022-12-07T19:21:24.064" v="4554"/>
          <ac:spMkLst>
            <pc:docMk/>
            <pc:sldMk cId="2620984444" sldId="2147470419"/>
            <ac:spMk id="28" creationId="{28E73BDC-173C-43EE-BAD1-F2223E0CE5CD}"/>
          </ac:spMkLst>
        </pc:spChg>
        <pc:spChg chg="mod">
          <ac:chgData name="Sot, Urszula" userId="2a6be684-0ce0-42e4-a93c-6ee6cc224c18" providerId="ADAL" clId="{0A6D4C1C-927C-4363-ADA2-D0C311F1078F}" dt="2022-12-07T19:21:24.064" v="4554"/>
          <ac:spMkLst>
            <pc:docMk/>
            <pc:sldMk cId="2620984444" sldId="2147470419"/>
            <ac:spMk id="29" creationId="{734FC3CF-E95C-443C-B77E-C11DAC9A33A7}"/>
          </ac:spMkLst>
        </pc:spChg>
        <pc:spChg chg="mod">
          <ac:chgData name="Sot, Urszula" userId="2a6be684-0ce0-42e4-a93c-6ee6cc224c18" providerId="ADAL" clId="{0A6D4C1C-927C-4363-ADA2-D0C311F1078F}" dt="2022-12-07T19:21:24.064" v="4554"/>
          <ac:spMkLst>
            <pc:docMk/>
            <pc:sldMk cId="2620984444" sldId="2147470419"/>
            <ac:spMk id="30" creationId="{8650AF88-AE25-45A4-BF12-0171B40AF1AE}"/>
          </ac:spMkLst>
        </pc:spChg>
        <pc:spChg chg="mod">
          <ac:chgData name="Sot, Urszula" userId="2a6be684-0ce0-42e4-a93c-6ee6cc224c18" providerId="ADAL" clId="{0A6D4C1C-927C-4363-ADA2-D0C311F1078F}" dt="2022-12-07T19:21:24.064" v="4554"/>
          <ac:spMkLst>
            <pc:docMk/>
            <pc:sldMk cId="2620984444" sldId="2147470419"/>
            <ac:spMk id="31" creationId="{F1D49C18-A4F2-46F3-AA89-C159376F2541}"/>
          </ac:spMkLst>
        </pc:spChg>
        <pc:spChg chg="mod">
          <ac:chgData name="Sot, Urszula" userId="2a6be684-0ce0-42e4-a93c-6ee6cc224c18" providerId="ADAL" clId="{0A6D4C1C-927C-4363-ADA2-D0C311F1078F}" dt="2022-12-07T19:15:13.923" v="4525" actId="207"/>
          <ac:spMkLst>
            <pc:docMk/>
            <pc:sldMk cId="2620984444" sldId="2147470419"/>
            <ac:spMk id="72" creationId="{8F610C23-4EE0-034E-A458-342965F64E8A}"/>
          </ac:spMkLst>
        </pc:spChg>
        <pc:spChg chg="mod">
          <ac:chgData name="Sot, Urszula" userId="2a6be684-0ce0-42e4-a93c-6ee6cc224c18" providerId="ADAL" clId="{0A6D4C1C-927C-4363-ADA2-D0C311F1078F}" dt="2022-12-07T14:25:55.849" v="3310" actId="20577"/>
          <ac:spMkLst>
            <pc:docMk/>
            <pc:sldMk cId="2620984444" sldId="2147470419"/>
            <ac:spMk id="74" creationId="{02B9CB5B-FD0D-5C4C-98B2-979948B45C34}"/>
          </ac:spMkLst>
        </pc:spChg>
        <pc:spChg chg="mod">
          <ac:chgData name="Sot, Urszula" userId="2a6be684-0ce0-42e4-a93c-6ee6cc224c18" providerId="ADAL" clId="{0A6D4C1C-927C-4363-ADA2-D0C311F1078F}" dt="2022-12-07T14:18:31.037" v="3168" actId="20577"/>
          <ac:spMkLst>
            <pc:docMk/>
            <pc:sldMk cId="2620984444" sldId="2147470419"/>
            <ac:spMk id="75" creationId="{018D3497-D9F4-4244-888F-1F1474F447B1}"/>
          </ac:spMkLst>
        </pc:spChg>
        <pc:spChg chg="mod">
          <ac:chgData name="Sot, Urszula" userId="2a6be684-0ce0-42e4-a93c-6ee6cc224c18" providerId="ADAL" clId="{0A6D4C1C-927C-4363-ADA2-D0C311F1078F}" dt="2022-12-07T14:16:12.306" v="3115" actId="1076"/>
          <ac:spMkLst>
            <pc:docMk/>
            <pc:sldMk cId="2620984444" sldId="2147470419"/>
            <ac:spMk id="76" creationId="{9CDD3866-DDE5-9F49-B929-07A6A453EB95}"/>
          </ac:spMkLst>
        </pc:spChg>
        <pc:spChg chg="mod">
          <ac:chgData name="Sot, Urszula" userId="2a6be684-0ce0-42e4-a93c-6ee6cc224c18" providerId="ADAL" clId="{0A6D4C1C-927C-4363-ADA2-D0C311F1078F}" dt="2022-12-07T14:16:12.306" v="3115" actId="1076"/>
          <ac:spMkLst>
            <pc:docMk/>
            <pc:sldMk cId="2620984444" sldId="2147470419"/>
            <ac:spMk id="77" creationId="{D50A759C-FF74-334F-B218-6DA89F6A55C4}"/>
          </ac:spMkLst>
        </pc:spChg>
        <pc:spChg chg="mod">
          <ac:chgData name="Sot, Urszula" userId="2a6be684-0ce0-42e4-a93c-6ee6cc224c18" providerId="ADAL" clId="{0A6D4C1C-927C-4363-ADA2-D0C311F1078F}" dt="2022-12-07T14:17:54.923" v="3119" actId="20577"/>
          <ac:spMkLst>
            <pc:docMk/>
            <pc:sldMk cId="2620984444" sldId="2147470419"/>
            <ac:spMk id="78" creationId="{B0A1AC11-87D8-1A4D-8EC9-CB8004623648}"/>
          </ac:spMkLst>
        </pc:spChg>
        <pc:spChg chg="mod">
          <ac:chgData name="Sot, Urszula" userId="2a6be684-0ce0-42e4-a93c-6ee6cc224c18" providerId="ADAL" clId="{0A6D4C1C-927C-4363-ADA2-D0C311F1078F}" dt="2022-12-07T14:27:00.135" v="3329" actId="20577"/>
          <ac:spMkLst>
            <pc:docMk/>
            <pc:sldMk cId="2620984444" sldId="2147470419"/>
            <ac:spMk id="79" creationId="{F8E75C2E-16A8-3041-ADE0-F750B0770B69}"/>
          </ac:spMkLst>
        </pc:spChg>
        <pc:spChg chg="mod">
          <ac:chgData name="Sot, Urszula" userId="2a6be684-0ce0-42e4-a93c-6ee6cc224c18" providerId="ADAL" clId="{0A6D4C1C-927C-4363-ADA2-D0C311F1078F}" dt="2022-12-07T14:16:12.306" v="3115" actId="1076"/>
          <ac:spMkLst>
            <pc:docMk/>
            <pc:sldMk cId="2620984444" sldId="2147470419"/>
            <ac:spMk id="85" creationId="{49C13B86-5187-CB40-AC31-98AA18A70227}"/>
          </ac:spMkLst>
        </pc:spChg>
        <pc:spChg chg="mod">
          <ac:chgData name="Sot, Urszula" userId="2a6be684-0ce0-42e4-a93c-6ee6cc224c18" providerId="ADAL" clId="{0A6D4C1C-927C-4363-ADA2-D0C311F1078F}" dt="2022-12-07T14:16:12.306" v="3115" actId="1076"/>
          <ac:spMkLst>
            <pc:docMk/>
            <pc:sldMk cId="2620984444" sldId="2147470419"/>
            <ac:spMk id="88" creationId="{755B86D5-9557-0545-8987-4B59F4E6A617}"/>
          </ac:spMkLst>
        </pc:spChg>
        <pc:grpChg chg="add mod">
          <ac:chgData name="Sot, Urszula" userId="2a6be684-0ce0-42e4-a93c-6ee6cc224c18" providerId="ADAL" clId="{0A6D4C1C-927C-4363-ADA2-D0C311F1078F}" dt="2022-12-07T19:21:24.064" v="4554"/>
          <ac:grpSpMkLst>
            <pc:docMk/>
            <pc:sldMk cId="2620984444" sldId="2147470419"/>
            <ac:grpSpMk id="26" creationId="{B97448E1-C023-4A0E-9F74-5C348DD44D1C}"/>
          </ac:grpSpMkLst>
        </pc:grpChg>
        <pc:grpChg chg="mod">
          <ac:chgData name="Sot, Urszula" userId="2a6be684-0ce0-42e4-a93c-6ee6cc224c18" providerId="ADAL" clId="{0A6D4C1C-927C-4363-ADA2-D0C311F1078F}" dt="2022-12-07T14:16:12.306" v="3115" actId="1076"/>
          <ac:grpSpMkLst>
            <pc:docMk/>
            <pc:sldMk cId="2620984444" sldId="2147470419"/>
            <ac:grpSpMk id="83" creationId="{1CD8DB4C-D87C-DA49-B69E-77B3393920FF}"/>
          </ac:grpSpMkLst>
        </pc:grpChg>
        <pc:grpChg chg="mod">
          <ac:chgData name="Sot, Urszula" userId="2a6be684-0ce0-42e4-a93c-6ee6cc224c18" providerId="ADAL" clId="{0A6D4C1C-927C-4363-ADA2-D0C311F1078F}" dt="2022-12-07T14:16:12.306" v="3115" actId="1076"/>
          <ac:grpSpMkLst>
            <pc:docMk/>
            <pc:sldMk cId="2620984444" sldId="2147470419"/>
            <ac:grpSpMk id="86" creationId="{CC54B6CF-1FBB-E740-815D-940C5148F979}"/>
          </ac:grpSpMkLst>
        </pc:grpChg>
        <pc:graphicFrameChg chg="del">
          <ac:chgData name="Sot, Urszula" userId="2a6be684-0ce0-42e4-a93c-6ee6cc224c18" providerId="ADAL" clId="{0A6D4C1C-927C-4363-ADA2-D0C311F1078F}" dt="2022-12-07T14:07:26.295" v="2882" actId="21"/>
          <ac:graphicFrameMkLst>
            <pc:docMk/>
            <pc:sldMk cId="2620984444" sldId="2147470419"/>
            <ac:graphicFrameMk id="2" creationId="{A6831404-73BE-B643-EEBA-8D0DB6389350}"/>
          </ac:graphicFrameMkLst>
        </pc:graphicFrameChg>
        <pc:picChg chg="mod">
          <ac:chgData name="Sot, Urszula" userId="2a6be684-0ce0-42e4-a93c-6ee6cc224c18" providerId="ADAL" clId="{0A6D4C1C-927C-4363-ADA2-D0C311F1078F}" dt="2022-12-07T14:16:12.306" v="3115" actId="1076"/>
          <ac:picMkLst>
            <pc:docMk/>
            <pc:sldMk cId="2620984444" sldId="2147470419"/>
            <ac:picMk id="5" creationId="{D3585CEA-3439-892F-A033-85299F300988}"/>
          </ac:picMkLst>
        </pc:picChg>
        <pc:picChg chg="mod">
          <ac:chgData name="Sot, Urszula" userId="2a6be684-0ce0-42e4-a93c-6ee6cc224c18" providerId="ADAL" clId="{0A6D4C1C-927C-4363-ADA2-D0C311F1078F}" dt="2022-12-07T14:16:12.306" v="3115" actId="1076"/>
          <ac:picMkLst>
            <pc:docMk/>
            <pc:sldMk cId="2620984444" sldId="2147470419"/>
            <ac:picMk id="70" creationId="{DF000C52-7D58-D843-A889-6102265E340A}"/>
          </ac:picMkLst>
        </pc:picChg>
        <pc:picChg chg="mod">
          <ac:chgData name="Sot, Urszula" userId="2a6be684-0ce0-42e4-a93c-6ee6cc224c18" providerId="ADAL" clId="{0A6D4C1C-927C-4363-ADA2-D0C311F1078F}" dt="2022-12-07T14:16:12.306" v="3115" actId="1076"/>
          <ac:picMkLst>
            <pc:docMk/>
            <pc:sldMk cId="2620984444" sldId="2147470419"/>
            <ac:picMk id="71" creationId="{53193F7D-7177-7F42-B3D4-C5FAA423778E}"/>
          </ac:picMkLst>
        </pc:picChg>
        <pc:picChg chg="mod">
          <ac:chgData name="Sot, Urszula" userId="2a6be684-0ce0-42e4-a93c-6ee6cc224c18" providerId="ADAL" clId="{0A6D4C1C-927C-4363-ADA2-D0C311F1078F}" dt="2022-12-07T14:16:12.306" v="3115" actId="1076"/>
          <ac:picMkLst>
            <pc:docMk/>
            <pc:sldMk cId="2620984444" sldId="2147470419"/>
            <ac:picMk id="80" creationId="{0B72CED6-8373-FC48-B8C5-CC2569EF8190}"/>
          </ac:picMkLst>
        </pc:picChg>
        <pc:picChg chg="mod">
          <ac:chgData name="Sot, Urszula" userId="2a6be684-0ce0-42e4-a93c-6ee6cc224c18" providerId="ADAL" clId="{0A6D4C1C-927C-4363-ADA2-D0C311F1078F}" dt="2022-12-07T14:16:12.306" v="3115" actId="1076"/>
          <ac:picMkLst>
            <pc:docMk/>
            <pc:sldMk cId="2620984444" sldId="2147470419"/>
            <ac:picMk id="84" creationId="{26B7DC3E-DC52-EC42-BAB1-00D80CBF7850}"/>
          </ac:picMkLst>
        </pc:picChg>
        <pc:picChg chg="mod">
          <ac:chgData name="Sot, Urszula" userId="2a6be684-0ce0-42e4-a93c-6ee6cc224c18" providerId="ADAL" clId="{0A6D4C1C-927C-4363-ADA2-D0C311F1078F}" dt="2022-12-07T14:16:12.306" v="3115" actId="1076"/>
          <ac:picMkLst>
            <pc:docMk/>
            <pc:sldMk cId="2620984444" sldId="2147470419"/>
            <ac:picMk id="87" creationId="{B3AD8F54-298B-774E-A3EA-D1AB1874B098}"/>
          </ac:picMkLst>
        </pc:picChg>
        <pc:cxnChg chg="mod">
          <ac:chgData name="Sot, Urszula" userId="2a6be684-0ce0-42e4-a93c-6ee6cc224c18" providerId="ADAL" clId="{0A6D4C1C-927C-4363-ADA2-D0C311F1078F}" dt="2022-12-07T14:16:12.306" v="3115" actId="1076"/>
          <ac:cxnSpMkLst>
            <pc:docMk/>
            <pc:sldMk cId="2620984444" sldId="2147470419"/>
            <ac:cxnSpMk id="73" creationId="{732751BB-8D59-1E4B-9A01-F50BEE801377}"/>
          </ac:cxnSpMkLst>
        </pc:cxnChg>
        <pc:cxnChg chg="mod">
          <ac:chgData name="Sot, Urszula" userId="2a6be684-0ce0-42e4-a93c-6ee6cc224c18" providerId="ADAL" clId="{0A6D4C1C-927C-4363-ADA2-D0C311F1078F}" dt="2022-12-07T14:16:12.306" v="3115" actId="1076"/>
          <ac:cxnSpMkLst>
            <pc:docMk/>
            <pc:sldMk cId="2620984444" sldId="2147470419"/>
            <ac:cxnSpMk id="81" creationId="{8B3EB0DE-181D-2F4B-B6AB-7806A5B059B8}"/>
          </ac:cxnSpMkLst>
        </pc:cxnChg>
      </pc:sldChg>
      <pc:sldChg chg="addSp delSp modSp mod">
        <pc:chgData name="Sot, Urszula" userId="2a6be684-0ce0-42e4-a93c-6ee6cc224c18" providerId="ADAL" clId="{0A6D4C1C-927C-4363-ADA2-D0C311F1078F}" dt="2022-12-07T19:21:25.090" v="4555"/>
        <pc:sldMkLst>
          <pc:docMk/>
          <pc:sldMk cId="3001452049" sldId="2147470421"/>
        </pc:sldMkLst>
        <pc:spChg chg="mod">
          <ac:chgData name="Sot, Urszula" userId="2a6be684-0ce0-42e4-a93c-6ee6cc224c18" providerId="ADAL" clId="{0A6D4C1C-927C-4363-ADA2-D0C311F1078F}" dt="2022-12-07T14:52:50.696" v="3511" actId="255"/>
          <ac:spMkLst>
            <pc:docMk/>
            <pc:sldMk cId="3001452049" sldId="2147470421"/>
            <ac:spMk id="13" creationId="{2275BD6F-32AA-B54A-A851-C2210485A054}"/>
          </ac:spMkLst>
        </pc:spChg>
        <pc:spChg chg="add mod">
          <ac:chgData name="Sot, Urszula" userId="2a6be684-0ce0-42e4-a93c-6ee6cc224c18" providerId="ADAL" clId="{0A6D4C1C-927C-4363-ADA2-D0C311F1078F}" dt="2022-12-07T19:10:30.227" v="4438"/>
          <ac:spMkLst>
            <pc:docMk/>
            <pc:sldMk cId="3001452049" sldId="2147470421"/>
            <ac:spMk id="19" creationId="{797EB008-5F13-416A-83FA-9ABCC4FD575C}"/>
          </ac:spMkLst>
        </pc:spChg>
        <pc:spChg chg="mod">
          <ac:chgData name="Sot, Urszula" userId="2a6be684-0ce0-42e4-a93c-6ee6cc224c18" providerId="ADAL" clId="{0A6D4C1C-927C-4363-ADA2-D0C311F1078F}" dt="2022-12-07T19:21:25.090" v="4555"/>
          <ac:spMkLst>
            <pc:docMk/>
            <pc:sldMk cId="3001452049" sldId="2147470421"/>
            <ac:spMk id="23" creationId="{98C43AC2-0A58-41C1-91E9-6954FAF48229}"/>
          </ac:spMkLst>
        </pc:spChg>
        <pc:spChg chg="mod">
          <ac:chgData name="Sot, Urszula" userId="2a6be684-0ce0-42e4-a93c-6ee6cc224c18" providerId="ADAL" clId="{0A6D4C1C-927C-4363-ADA2-D0C311F1078F}" dt="2022-12-07T19:21:25.090" v="4555"/>
          <ac:spMkLst>
            <pc:docMk/>
            <pc:sldMk cId="3001452049" sldId="2147470421"/>
            <ac:spMk id="24" creationId="{CC57969E-DB6C-48C0-9959-E332ECAAD294}"/>
          </ac:spMkLst>
        </pc:spChg>
        <pc:spChg chg="mod">
          <ac:chgData name="Sot, Urszula" userId="2a6be684-0ce0-42e4-a93c-6ee6cc224c18" providerId="ADAL" clId="{0A6D4C1C-927C-4363-ADA2-D0C311F1078F}" dt="2022-12-07T19:21:25.090" v="4555"/>
          <ac:spMkLst>
            <pc:docMk/>
            <pc:sldMk cId="3001452049" sldId="2147470421"/>
            <ac:spMk id="25" creationId="{72BB3FE6-71E4-47C0-8835-850B4E4FEA7A}"/>
          </ac:spMkLst>
        </pc:spChg>
        <pc:spChg chg="mod">
          <ac:chgData name="Sot, Urszula" userId="2a6be684-0ce0-42e4-a93c-6ee6cc224c18" providerId="ADAL" clId="{0A6D4C1C-927C-4363-ADA2-D0C311F1078F}" dt="2022-12-07T19:21:25.090" v="4555"/>
          <ac:spMkLst>
            <pc:docMk/>
            <pc:sldMk cId="3001452049" sldId="2147470421"/>
            <ac:spMk id="26" creationId="{0F9E6D00-F223-4A71-A3F7-60E5A0A6B838}"/>
          </ac:spMkLst>
        </pc:spChg>
        <pc:spChg chg="mod">
          <ac:chgData name="Sot, Urszula" userId="2a6be684-0ce0-42e4-a93c-6ee6cc224c18" providerId="ADAL" clId="{0A6D4C1C-927C-4363-ADA2-D0C311F1078F}" dt="2022-12-07T19:21:25.090" v="4555"/>
          <ac:spMkLst>
            <pc:docMk/>
            <pc:sldMk cId="3001452049" sldId="2147470421"/>
            <ac:spMk id="27" creationId="{D4EC77C9-50E1-4B3F-B00E-EC24E6474FEA}"/>
          </ac:spMkLst>
        </pc:spChg>
        <pc:spChg chg="mod">
          <ac:chgData name="Sot, Urszula" userId="2a6be684-0ce0-42e4-a93c-6ee6cc224c18" providerId="ADAL" clId="{0A6D4C1C-927C-4363-ADA2-D0C311F1078F}" dt="2022-12-07T14:46:33.250" v="3464" actId="113"/>
          <ac:spMkLst>
            <pc:docMk/>
            <pc:sldMk cId="3001452049" sldId="2147470421"/>
            <ac:spMk id="36" creationId="{CBCEA446-F8E4-C84C-B65C-6199857D3CA9}"/>
          </ac:spMkLst>
        </pc:spChg>
        <pc:spChg chg="mod">
          <ac:chgData name="Sot, Urszula" userId="2a6be684-0ce0-42e4-a93c-6ee6cc224c18" providerId="ADAL" clId="{0A6D4C1C-927C-4363-ADA2-D0C311F1078F}" dt="2022-12-07T14:51:09.113" v="3501" actId="113"/>
          <ac:spMkLst>
            <pc:docMk/>
            <pc:sldMk cId="3001452049" sldId="2147470421"/>
            <ac:spMk id="39" creationId="{0553C717-648B-0F46-BDE5-DEE17AAFCBB5}"/>
          </ac:spMkLst>
        </pc:spChg>
        <pc:grpChg chg="add mod">
          <ac:chgData name="Sot, Urszula" userId="2a6be684-0ce0-42e4-a93c-6ee6cc224c18" providerId="ADAL" clId="{0A6D4C1C-927C-4363-ADA2-D0C311F1078F}" dt="2022-12-07T19:21:25.090" v="4555"/>
          <ac:grpSpMkLst>
            <pc:docMk/>
            <pc:sldMk cId="3001452049" sldId="2147470421"/>
            <ac:grpSpMk id="20" creationId="{33CD2141-539B-49C7-993B-73807CD0711E}"/>
          </ac:grpSpMkLst>
        </pc:grpChg>
        <pc:graphicFrameChg chg="del">
          <ac:chgData name="Sot, Urszula" userId="2a6be684-0ce0-42e4-a93c-6ee6cc224c18" providerId="ADAL" clId="{0A6D4C1C-927C-4363-ADA2-D0C311F1078F}" dt="2022-12-07T14:28:41.049" v="3334" actId="21"/>
          <ac:graphicFrameMkLst>
            <pc:docMk/>
            <pc:sldMk cId="3001452049" sldId="2147470421"/>
            <ac:graphicFrameMk id="3" creationId="{9E6CAFBB-D5E9-69DC-CA72-C952CE62CE94}"/>
          </ac:graphicFrameMkLst>
        </pc:graphicFrameChg>
        <pc:graphicFrameChg chg="mod modGraphic">
          <ac:chgData name="Sot, Urszula" userId="2a6be684-0ce0-42e4-a93c-6ee6cc224c18" providerId="ADAL" clId="{0A6D4C1C-927C-4363-ADA2-D0C311F1078F}" dt="2022-12-07T14:46:39.002" v="3465" actId="1076"/>
          <ac:graphicFrameMkLst>
            <pc:docMk/>
            <pc:sldMk cId="3001452049" sldId="2147470421"/>
            <ac:graphicFrameMk id="4" creationId="{FE2A153E-A9F2-4243-9C7E-C28E526F02B8}"/>
          </ac:graphicFrameMkLst>
        </pc:graphicFrameChg>
        <pc:graphicFrameChg chg="mod modGraphic">
          <ac:chgData name="Sot, Urszula" userId="2a6be684-0ce0-42e4-a93c-6ee6cc224c18" providerId="ADAL" clId="{0A6D4C1C-927C-4363-ADA2-D0C311F1078F}" dt="2022-12-07T14:47:37.342" v="3471" actId="1076"/>
          <ac:graphicFrameMkLst>
            <pc:docMk/>
            <pc:sldMk cId="3001452049" sldId="2147470421"/>
            <ac:graphicFrameMk id="15" creationId="{8A31B0B2-85A0-5348-8E7D-FC9238B09B44}"/>
          </ac:graphicFrameMkLst>
        </pc:graphicFrameChg>
        <pc:picChg chg="del mod">
          <ac:chgData name="Sot, Urszula" userId="2a6be684-0ce0-42e4-a93c-6ee6cc224c18" providerId="ADAL" clId="{0A6D4C1C-927C-4363-ADA2-D0C311F1078F}" dt="2022-12-07T14:47:58.866" v="3474" actId="21"/>
          <ac:picMkLst>
            <pc:docMk/>
            <pc:sldMk cId="3001452049" sldId="2147470421"/>
            <ac:picMk id="5" creationId="{BBF468A0-CF11-A969-FCC3-C761719BE1A9}"/>
          </ac:picMkLst>
        </pc:picChg>
        <pc:picChg chg="add del">
          <ac:chgData name="Sot, Urszula" userId="2a6be684-0ce0-42e4-a93c-6ee6cc224c18" providerId="ADAL" clId="{0A6D4C1C-927C-4363-ADA2-D0C311F1078F}" dt="2022-12-07T14:44:50.463" v="3450" actId="21"/>
          <ac:picMkLst>
            <pc:docMk/>
            <pc:sldMk cId="3001452049" sldId="2147470421"/>
            <ac:picMk id="6" creationId="{14096B0C-99FC-4880-BDEB-4490C1C047B5}"/>
          </ac:picMkLst>
        </pc:picChg>
        <pc:picChg chg="add mod">
          <ac:chgData name="Sot, Urszula" userId="2a6be684-0ce0-42e4-a93c-6ee6cc224c18" providerId="ADAL" clId="{0A6D4C1C-927C-4363-ADA2-D0C311F1078F}" dt="2022-12-07T14:48:04.275" v="3477" actId="1076"/>
          <ac:picMkLst>
            <pc:docMk/>
            <pc:sldMk cId="3001452049" sldId="2147470421"/>
            <ac:picMk id="8" creationId="{430A84AC-723D-4A87-AB4D-16D5195A8DF0}"/>
          </ac:picMkLst>
        </pc:picChg>
        <pc:picChg chg="add del mod">
          <ac:chgData name="Sot, Urszula" userId="2a6be684-0ce0-42e4-a93c-6ee6cc224c18" providerId="ADAL" clId="{0A6D4C1C-927C-4363-ADA2-D0C311F1078F}" dt="2022-12-07T14:49:20.159" v="3485" actId="21"/>
          <ac:picMkLst>
            <pc:docMk/>
            <pc:sldMk cId="3001452049" sldId="2147470421"/>
            <ac:picMk id="9" creationId="{80105CF6-FF90-FB91-5442-4C1AE3B41802}"/>
          </ac:picMkLst>
        </pc:picChg>
        <pc:picChg chg="add mod">
          <ac:chgData name="Sot, Urszula" userId="2a6be684-0ce0-42e4-a93c-6ee6cc224c18" providerId="ADAL" clId="{0A6D4C1C-927C-4363-ADA2-D0C311F1078F}" dt="2022-12-07T14:49:20.793" v="3486" actId="1076"/>
          <ac:picMkLst>
            <pc:docMk/>
            <pc:sldMk cId="3001452049" sldId="2147470421"/>
            <ac:picMk id="11" creationId="{1F0892B6-07D2-4526-BF07-2762484BE34C}"/>
          </ac:picMkLst>
        </pc:picChg>
      </pc:sldChg>
      <pc:sldChg chg="addSp delSp modSp mod">
        <pc:chgData name="Sot, Urszula" userId="2a6be684-0ce0-42e4-a93c-6ee6cc224c18" providerId="ADAL" clId="{0A6D4C1C-927C-4363-ADA2-D0C311F1078F}" dt="2022-12-07T19:21:26.808" v="4556"/>
        <pc:sldMkLst>
          <pc:docMk/>
          <pc:sldMk cId="66028964" sldId="2147470422"/>
        </pc:sldMkLst>
        <pc:spChg chg="mod">
          <ac:chgData name="Sot, Urszula" userId="2a6be684-0ce0-42e4-a93c-6ee6cc224c18" providerId="ADAL" clId="{0A6D4C1C-927C-4363-ADA2-D0C311F1078F}" dt="2022-12-07T14:53:12.317" v="3512"/>
          <ac:spMkLst>
            <pc:docMk/>
            <pc:sldMk cId="66028964" sldId="2147470422"/>
            <ac:spMk id="3" creationId="{0079CD33-B2C1-F8CB-132E-9E384C177D1D}"/>
          </ac:spMkLst>
        </pc:spChg>
        <pc:spChg chg="mod">
          <ac:chgData name="Sot, Urszula" userId="2a6be684-0ce0-42e4-a93c-6ee6cc224c18" providerId="ADAL" clId="{0A6D4C1C-927C-4363-ADA2-D0C311F1078F}" dt="2022-12-07T14:54:09.990" v="3521" actId="20577"/>
          <ac:spMkLst>
            <pc:docMk/>
            <pc:sldMk cId="66028964" sldId="2147470422"/>
            <ac:spMk id="5" creationId="{C7E4A38A-358E-A222-13FD-1B76D093FE69}"/>
          </ac:spMkLst>
        </pc:spChg>
        <pc:spChg chg="mod">
          <ac:chgData name="Sot, Urszula" userId="2a6be684-0ce0-42e4-a93c-6ee6cc224c18" providerId="ADAL" clId="{0A6D4C1C-927C-4363-ADA2-D0C311F1078F}" dt="2022-12-07T14:54:34.721" v="3522"/>
          <ac:spMkLst>
            <pc:docMk/>
            <pc:sldMk cId="66028964" sldId="2147470422"/>
            <ac:spMk id="7" creationId="{C517578D-6AC3-306A-332A-00988948B4FF}"/>
          </ac:spMkLst>
        </pc:spChg>
        <pc:spChg chg="mod">
          <ac:chgData name="Sot, Urszula" userId="2a6be684-0ce0-42e4-a93c-6ee6cc224c18" providerId="ADAL" clId="{0A6D4C1C-927C-4363-ADA2-D0C311F1078F}" dt="2022-12-07T14:55:29.479" v="3529"/>
          <ac:spMkLst>
            <pc:docMk/>
            <pc:sldMk cId="66028964" sldId="2147470422"/>
            <ac:spMk id="8" creationId="{A208455D-D112-A9B9-1A8C-7965590D18FF}"/>
          </ac:spMkLst>
        </pc:spChg>
        <pc:spChg chg="add mod">
          <ac:chgData name="Sot, Urszula" userId="2a6be684-0ce0-42e4-a93c-6ee6cc224c18" providerId="ADAL" clId="{0A6D4C1C-927C-4363-ADA2-D0C311F1078F}" dt="2022-12-07T19:10:33.825" v="4439"/>
          <ac:spMkLst>
            <pc:docMk/>
            <pc:sldMk cId="66028964" sldId="2147470422"/>
            <ac:spMk id="17" creationId="{19C130BE-BA12-4433-8804-898D7FA89A14}"/>
          </ac:spMkLst>
        </pc:spChg>
        <pc:spChg chg="mod">
          <ac:chgData name="Sot, Urszula" userId="2a6be684-0ce0-42e4-a93c-6ee6cc224c18" providerId="ADAL" clId="{0A6D4C1C-927C-4363-ADA2-D0C311F1078F}" dt="2022-12-07T19:21:26.808" v="4556"/>
          <ac:spMkLst>
            <pc:docMk/>
            <pc:sldMk cId="66028964" sldId="2147470422"/>
            <ac:spMk id="19" creationId="{F0F4FC82-289D-4969-8558-31717B6AE07F}"/>
          </ac:spMkLst>
        </pc:spChg>
        <pc:spChg chg="mod">
          <ac:chgData name="Sot, Urszula" userId="2a6be684-0ce0-42e4-a93c-6ee6cc224c18" providerId="ADAL" clId="{0A6D4C1C-927C-4363-ADA2-D0C311F1078F}" dt="2022-12-07T19:21:26.808" v="4556"/>
          <ac:spMkLst>
            <pc:docMk/>
            <pc:sldMk cId="66028964" sldId="2147470422"/>
            <ac:spMk id="20" creationId="{F4B8A1C0-E4B8-46CA-BA9C-03D310DA17D0}"/>
          </ac:spMkLst>
        </pc:spChg>
        <pc:spChg chg="mod">
          <ac:chgData name="Sot, Urszula" userId="2a6be684-0ce0-42e4-a93c-6ee6cc224c18" providerId="ADAL" clId="{0A6D4C1C-927C-4363-ADA2-D0C311F1078F}" dt="2022-12-07T19:21:26.808" v="4556"/>
          <ac:spMkLst>
            <pc:docMk/>
            <pc:sldMk cId="66028964" sldId="2147470422"/>
            <ac:spMk id="23" creationId="{23A1617F-ED3A-4DF6-8338-2C0B93DFE002}"/>
          </ac:spMkLst>
        </pc:spChg>
        <pc:spChg chg="mod">
          <ac:chgData name="Sot, Urszula" userId="2a6be684-0ce0-42e4-a93c-6ee6cc224c18" providerId="ADAL" clId="{0A6D4C1C-927C-4363-ADA2-D0C311F1078F}" dt="2022-12-07T19:21:26.808" v="4556"/>
          <ac:spMkLst>
            <pc:docMk/>
            <pc:sldMk cId="66028964" sldId="2147470422"/>
            <ac:spMk id="24" creationId="{9CA002BA-E015-4FE5-A756-157EB60F8CA0}"/>
          </ac:spMkLst>
        </pc:spChg>
        <pc:spChg chg="mod">
          <ac:chgData name="Sot, Urszula" userId="2a6be684-0ce0-42e4-a93c-6ee6cc224c18" providerId="ADAL" clId="{0A6D4C1C-927C-4363-ADA2-D0C311F1078F}" dt="2022-12-07T19:21:26.808" v="4556"/>
          <ac:spMkLst>
            <pc:docMk/>
            <pc:sldMk cId="66028964" sldId="2147470422"/>
            <ac:spMk id="25" creationId="{D9001E40-CBD6-442D-B05F-48B75091508E}"/>
          </ac:spMkLst>
        </pc:spChg>
        <pc:spChg chg="mod">
          <ac:chgData name="Sot, Urszula" userId="2a6be684-0ce0-42e4-a93c-6ee6cc224c18" providerId="ADAL" clId="{0A6D4C1C-927C-4363-ADA2-D0C311F1078F}" dt="2022-12-07T14:52:42.968" v="3510" actId="255"/>
          <ac:spMkLst>
            <pc:docMk/>
            <pc:sldMk cId="66028964" sldId="2147470422"/>
            <ac:spMk id="35" creationId="{7A522663-0DBF-0447-8AA1-8D5B49CEBF15}"/>
          </ac:spMkLst>
        </pc:spChg>
        <pc:grpChg chg="add mod">
          <ac:chgData name="Sot, Urszula" userId="2a6be684-0ce0-42e4-a93c-6ee6cc224c18" providerId="ADAL" clId="{0A6D4C1C-927C-4363-ADA2-D0C311F1078F}" dt="2022-12-07T19:21:26.808" v="4556"/>
          <ac:grpSpMkLst>
            <pc:docMk/>
            <pc:sldMk cId="66028964" sldId="2147470422"/>
            <ac:grpSpMk id="18" creationId="{CB49B68F-8818-40EB-A9DE-B4B13FF275E7}"/>
          </ac:grpSpMkLst>
        </pc:grpChg>
        <pc:graphicFrameChg chg="del">
          <ac:chgData name="Sot, Urszula" userId="2a6be684-0ce0-42e4-a93c-6ee6cc224c18" providerId="ADAL" clId="{0A6D4C1C-927C-4363-ADA2-D0C311F1078F}" dt="2022-12-07T14:52:06.414" v="3508" actId="21"/>
          <ac:graphicFrameMkLst>
            <pc:docMk/>
            <pc:sldMk cId="66028964" sldId="2147470422"/>
            <ac:graphicFrameMk id="4" creationId="{26521882-6EB0-2C85-6406-1E4B10CD13D9}"/>
          </ac:graphicFrameMkLst>
        </pc:graphicFrameChg>
        <pc:picChg chg="del">
          <ac:chgData name="Sot, Urszula" userId="2a6be684-0ce0-42e4-a93c-6ee6cc224c18" providerId="ADAL" clId="{0A6D4C1C-927C-4363-ADA2-D0C311F1078F}" dt="2022-12-07T14:53:18.141" v="3513" actId="21"/>
          <ac:picMkLst>
            <pc:docMk/>
            <pc:sldMk cId="66028964" sldId="2147470422"/>
            <ac:picMk id="6" creationId="{06439B7C-D56B-FFF1-2DD4-F27BCB39D153}"/>
          </ac:picMkLst>
        </pc:picChg>
        <pc:picChg chg="add mod">
          <ac:chgData name="Sot, Urszula" userId="2a6be684-0ce0-42e4-a93c-6ee6cc224c18" providerId="ADAL" clId="{0A6D4C1C-927C-4363-ADA2-D0C311F1078F}" dt="2022-12-07T14:53:44.998" v="3518" actId="1076"/>
          <ac:picMkLst>
            <pc:docMk/>
            <pc:sldMk cId="66028964" sldId="2147470422"/>
            <ac:picMk id="9" creationId="{45D27F7D-E79F-4634-9BCD-93435C03DF0C}"/>
          </ac:picMkLst>
        </pc:picChg>
        <pc:picChg chg="add mod">
          <ac:chgData name="Sot, Urszula" userId="2a6be684-0ce0-42e4-a93c-6ee6cc224c18" providerId="ADAL" clId="{0A6D4C1C-927C-4363-ADA2-D0C311F1078F}" dt="2022-12-07T14:55:08.254" v="3528" actId="1076"/>
          <ac:picMkLst>
            <pc:docMk/>
            <pc:sldMk cId="66028964" sldId="2147470422"/>
            <ac:picMk id="11" creationId="{BDBC69F6-9C27-485B-A91B-5B0A299DF16A}"/>
          </ac:picMkLst>
        </pc:picChg>
        <pc:picChg chg="del">
          <ac:chgData name="Sot, Urszula" userId="2a6be684-0ce0-42e4-a93c-6ee6cc224c18" providerId="ADAL" clId="{0A6D4C1C-927C-4363-ADA2-D0C311F1078F}" dt="2022-12-07T14:54:39.854" v="3523" actId="21"/>
          <ac:picMkLst>
            <pc:docMk/>
            <pc:sldMk cId="66028964" sldId="2147470422"/>
            <ac:picMk id="12" creationId="{66205891-2074-06E6-C49C-EBE8D50FD8AC}"/>
          </ac:picMkLst>
        </pc:picChg>
      </pc:sldChg>
      <pc:sldChg chg="addSp delSp modSp mod">
        <pc:chgData name="Sot, Urszula" userId="2a6be684-0ce0-42e4-a93c-6ee6cc224c18" providerId="ADAL" clId="{0A6D4C1C-927C-4363-ADA2-D0C311F1078F}" dt="2022-12-07T19:21:27.905" v="4557"/>
        <pc:sldMkLst>
          <pc:docMk/>
          <pc:sldMk cId="231233283" sldId="2147470423"/>
        </pc:sldMkLst>
        <pc:spChg chg="mod">
          <ac:chgData name="Sot, Urszula" userId="2a6be684-0ce0-42e4-a93c-6ee6cc224c18" providerId="ADAL" clId="{0A6D4C1C-927C-4363-ADA2-D0C311F1078F}" dt="2022-12-07T14:57:31.265" v="3552" actId="20577"/>
          <ac:spMkLst>
            <pc:docMk/>
            <pc:sldMk cId="231233283" sldId="2147470423"/>
            <ac:spMk id="3" creationId="{9245F942-1705-1CBF-3526-5E9A4E2A4F4E}"/>
          </ac:spMkLst>
        </pc:spChg>
        <pc:spChg chg="mod">
          <ac:chgData name="Sot, Urszula" userId="2a6be684-0ce0-42e4-a93c-6ee6cc224c18" providerId="ADAL" clId="{0A6D4C1C-927C-4363-ADA2-D0C311F1078F}" dt="2022-12-07T14:58:49.897" v="3560" actId="113"/>
          <ac:spMkLst>
            <pc:docMk/>
            <pc:sldMk cId="231233283" sldId="2147470423"/>
            <ac:spMk id="8" creationId="{75B06398-26BE-C186-1A4C-8C50368BCB0D}"/>
          </ac:spMkLst>
        </pc:spChg>
        <pc:spChg chg="mod">
          <ac:chgData name="Sot, Urszula" userId="2a6be684-0ce0-42e4-a93c-6ee6cc224c18" providerId="ADAL" clId="{0A6D4C1C-927C-4363-ADA2-D0C311F1078F}" dt="2022-12-07T14:59:54.901" v="3574" actId="113"/>
          <ac:spMkLst>
            <pc:docMk/>
            <pc:sldMk cId="231233283" sldId="2147470423"/>
            <ac:spMk id="11" creationId="{A0D783AD-BCDB-5C62-D38D-48F538F8E229}"/>
          </ac:spMkLst>
        </pc:spChg>
        <pc:spChg chg="mod">
          <ac:chgData name="Sot, Urszula" userId="2a6be684-0ce0-42e4-a93c-6ee6cc224c18" providerId="ADAL" clId="{0A6D4C1C-927C-4363-ADA2-D0C311F1078F}" dt="2022-12-07T15:02:27.319" v="3594" actId="113"/>
          <ac:spMkLst>
            <pc:docMk/>
            <pc:sldMk cId="231233283" sldId="2147470423"/>
            <ac:spMk id="14" creationId="{C399A370-AFDC-08BA-CDD2-4F03C64E6C37}"/>
          </ac:spMkLst>
        </pc:spChg>
        <pc:spChg chg="add mod">
          <ac:chgData name="Sot, Urszula" userId="2a6be684-0ce0-42e4-a93c-6ee6cc224c18" providerId="ADAL" clId="{0A6D4C1C-927C-4363-ADA2-D0C311F1078F}" dt="2022-12-07T19:10:39.506" v="4441" actId="1076"/>
          <ac:spMkLst>
            <pc:docMk/>
            <pc:sldMk cId="231233283" sldId="2147470423"/>
            <ac:spMk id="23" creationId="{4371804C-994C-406A-B5B3-F3864140F944}"/>
          </ac:spMkLst>
        </pc:spChg>
        <pc:spChg chg="mod">
          <ac:chgData name="Sot, Urszula" userId="2a6be684-0ce0-42e4-a93c-6ee6cc224c18" providerId="ADAL" clId="{0A6D4C1C-927C-4363-ADA2-D0C311F1078F}" dt="2022-12-07T19:21:27.905" v="4557"/>
          <ac:spMkLst>
            <pc:docMk/>
            <pc:sldMk cId="231233283" sldId="2147470423"/>
            <ac:spMk id="25" creationId="{4525E61E-2115-4265-80F9-BCDECB30CA32}"/>
          </ac:spMkLst>
        </pc:spChg>
        <pc:spChg chg="mod">
          <ac:chgData name="Sot, Urszula" userId="2a6be684-0ce0-42e4-a93c-6ee6cc224c18" providerId="ADAL" clId="{0A6D4C1C-927C-4363-ADA2-D0C311F1078F}" dt="2022-12-07T19:21:27.905" v="4557"/>
          <ac:spMkLst>
            <pc:docMk/>
            <pc:sldMk cId="231233283" sldId="2147470423"/>
            <ac:spMk id="26" creationId="{345406E8-F2A9-4F6A-853B-0EC18DF6DD2B}"/>
          </ac:spMkLst>
        </pc:spChg>
        <pc:spChg chg="mod">
          <ac:chgData name="Sot, Urszula" userId="2a6be684-0ce0-42e4-a93c-6ee6cc224c18" providerId="ADAL" clId="{0A6D4C1C-927C-4363-ADA2-D0C311F1078F}" dt="2022-12-07T19:21:27.905" v="4557"/>
          <ac:spMkLst>
            <pc:docMk/>
            <pc:sldMk cId="231233283" sldId="2147470423"/>
            <ac:spMk id="27" creationId="{B9014B4D-3AEF-4F68-A6AA-9CE0663B1FAA}"/>
          </ac:spMkLst>
        </pc:spChg>
        <pc:spChg chg="mod">
          <ac:chgData name="Sot, Urszula" userId="2a6be684-0ce0-42e4-a93c-6ee6cc224c18" providerId="ADAL" clId="{0A6D4C1C-927C-4363-ADA2-D0C311F1078F}" dt="2022-12-07T19:21:27.905" v="4557"/>
          <ac:spMkLst>
            <pc:docMk/>
            <pc:sldMk cId="231233283" sldId="2147470423"/>
            <ac:spMk id="28" creationId="{4D88ECE4-9E13-437B-877E-5D8D9E1C8FC1}"/>
          </ac:spMkLst>
        </pc:spChg>
        <pc:spChg chg="mod">
          <ac:chgData name="Sot, Urszula" userId="2a6be684-0ce0-42e4-a93c-6ee6cc224c18" providerId="ADAL" clId="{0A6D4C1C-927C-4363-ADA2-D0C311F1078F}" dt="2022-12-07T19:21:27.905" v="4557"/>
          <ac:spMkLst>
            <pc:docMk/>
            <pc:sldMk cId="231233283" sldId="2147470423"/>
            <ac:spMk id="29" creationId="{6E8A2B63-959E-4329-BEED-65D2689A40E4}"/>
          </ac:spMkLst>
        </pc:spChg>
        <pc:spChg chg="mod">
          <ac:chgData name="Sot, Urszula" userId="2a6be684-0ce0-42e4-a93c-6ee6cc224c18" providerId="ADAL" clId="{0A6D4C1C-927C-4363-ADA2-D0C311F1078F}" dt="2022-12-07T15:03:44.028" v="3596" actId="20578"/>
          <ac:spMkLst>
            <pc:docMk/>
            <pc:sldMk cId="231233283" sldId="2147470423"/>
            <ac:spMk id="32" creationId="{AEC847AD-0768-5848-B78B-3EC436C6137B}"/>
          </ac:spMkLst>
        </pc:spChg>
        <pc:grpChg chg="add mod">
          <ac:chgData name="Sot, Urszula" userId="2a6be684-0ce0-42e4-a93c-6ee6cc224c18" providerId="ADAL" clId="{0A6D4C1C-927C-4363-ADA2-D0C311F1078F}" dt="2022-12-07T19:21:27.905" v="4557"/>
          <ac:grpSpMkLst>
            <pc:docMk/>
            <pc:sldMk cId="231233283" sldId="2147470423"/>
            <ac:grpSpMk id="24" creationId="{C051947F-3BBE-4E8B-AFEF-D4B40B6CD3A1}"/>
          </ac:grpSpMkLst>
        </pc:grpChg>
        <pc:graphicFrameChg chg="del">
          <ac:chgData name="Sot, Urszula" userId="2a6be684-0ce0-42e4-a93c-6ee6cc224c18" providerId="ADAL" clId="{0A6D4C1C-927C-4363-ADA2-D0C311F1078F}" dt="2022-12-07T14:55:58.776" v="3530" actId="21"/>
          <ac:graphicFrameMkLst>
            <pc:docMk/>
            <pc:sldMk cId="231233283" sldId="2147470423"/>
            <ac:graphicFrameMk id="2" creationId="{FBA195E3-0E9A-B0C9-FA6E-21AD21ECAD0F}"/>
          </ac:graphicFrameMkLst>
        </pc:graphicFrameChg>
        <pc:picChg chg="add mod">
          <ac:chgData name="Sot, Urszula" userId="2a6be684-0ce0-42e4-a93c-6ee6cc224c18" providerId="ADAL" clId="{0A6D4C1C-927C-4363-ADA2-D0C311F1078F}" dt="2022-12-07T14:58:18.220" v="3558" actId="1076"/>
          <ac:picMkLst>
            <pc:docMk/>
            <pc:sldMk cId="231233283" sldId="2147470423"/>
            <ac:picMk id="6" creationId="{42A9EC58-FE4E-495B-AA5E-71E8C90646A4}"/>
          </ac:picMkLst>
        </pc:picChg>
        <pc:picChg chg="del">
          <ac:chgData name="Sot, Urszula" userId="2a6be684-0ce0-42e4-a93c-6ee6cc224c18" providerId="ADAL" clId="{0A6D4C1C-927C-4363-ADA2-D0C311F1078F}" dt="2022-12-07T14:57:36.081" v="3553" actId="21"/>
          <ac:picMkLst>
            <pc:docMk/>
            <pc:sldMk cId="231233283" sldId="2147470423"/>
            <ac:picMk id="9" creationId="{060333F2-C0C0-C448-5075-DD348BD6AF6B}"/>
          </ac:picMkLst>
        </pc:picChg>
        <pc:picChg chg="del">
          <ac:chgData name="Sot, Urszula" userId="2a6be684-0ce0-42e4-a93c-6ee6cc224c18" providerId="ADAL" clId="{0A6D4C1C-927C-4363-ADA2-D0C311F1078F}" dt="2022-12-07T14:58:54.614" v="3561" actId="21"/>
          <ac:picMkLst>
            <pc:docMk/>
            <pc:sldMk cId="231233283" sldId="2147470423"/>
            <ac:picMk id="10" creationId="{AC059CDF-2F7E-863F-5ED6-D9E0A1FF35F9}"/>
          </ac:picMkLst>
        </pc:picChg>
        <pc:picChg chg="add mod">
          <ac:chgData name="Sot, Urszula" userId="2a6be684-0ce0-42e4-a93c-6ee6cc224c18" providerId="ADAL" clId="{0A6D4C1C-927C-4363-ADA2-D0C311F1078F}" dt="2022-12-07T14:59:20.616" v="3568" actId="1076"/>
          <ac:picMkLst>
            <pc:docMk/>
            <pc:sldMk cId="231233283" sldId="2147470423"/>
            <ac:picMk id="12" creationId="{621D0E7E-780C-4301-9EFD-A4F2BAC83CC8}"/>
          </ac:picMkLst>
        </pc:picChg>
        <pc:picChg chg="add mod">
          <ac:chgData name="Sot, Urszula" userId="2a6be684-0ce0-42e4-a93c-6ee6cc224c18" providerId="ADAL" clId="{0A6D4C1C-927C-4363-ADA2-D0C311F1078F}" dt="2022-12-07T15:02:09.032" v="3592" actId="1076"/>
          <ac:picMkLst>
            <pc:docMk/>
            <pc:sldMk cId="231233283" sldId="2147470423"/>
            <ac:picMk id="16" creationId="{30B18760-ECCA-4796-8DC3-B7DA60374EF1}"/>
          </ac:picMkLst>
        </pc:picChg>
        <pc:picChg chg="del">
          <ac:chgData name="Sot, Urszula" userId="2a6be684-0ce0-42e4-a93c-6ee6cc224c18" providerId="ADAL" clId="{0A6D4C1C-927C-4363-ADA2-D0C311F1078F}" dt="2022-12-07T15:00:03.567" v="3575" actId="21"/>
          <ac:picMkLst>
            <pc:docMk/>
            <pc:sldMk cId="231233283" sldId="2147470423"/>
            <ac:picMk id="18" creationId="{E608522B-8596-FC12-B52D-BECFA8C7092C}"/>
          </ac:picMkLst>
        </pc:picChg>
        <pc:picChg chg="add mod">
          <ac:chgData name="Sot, Urszula" userId="2a6be684-0ce0-42e4-a93c-6ee6cc224c18" providerId="ADAL" clId="{0A6D4C1C-927C-4363-ADA2-D0C311F1078F}" dt="2022-12-07T15:01:48.019" v="3590" actId="1076"/>
          <ac:picMkLst>
            <pc:docMk/>
            <pc:sldMk cId="231233283" sldId="2147470423"/>
            <ac:picMk id="19" creationId="{4DEAF35A-E70B-4CE5-BBFD-EFA09A783511}"/>
          </ac:picMkLst>
        </pc:picChg>
      </pc:sldChg>
      <pc:sldChg chg="addSp delSp modSp mod">
        <pc:chgData name="Sot, Urszula" userId="2a6be684-0ce0-42e4-a93c-6ee6cc224c18" providerId="ADAL" clId="{0A6D4C1C-927C-4363-ADA2-D0C311F1078F}" dt="2022-12-07T19:21:28.884" v="4558"/>
        <pc:sldMkLst>
          <pc:docMk/>
          <pc:sldMk cId="2940144186" sldId="2147470426"/>
        </pc:sldMkLst>
        <pc:spChg chg="add mod">
          <ac:chgData name="Sot, Urszula" userId="2a6be684-0ce0-42e4-a93c-6ee6cc224c18" providerId="ADAL" clId="{0A6D4C1C-927C-4363-ADA2-D0C311F1078F}" dt="2022-12-07T15:14:06.456" v="3606" actId="1076"/>
          <ac:spMkLst>
            <pc:docMk/>
            <pc:sldMk cId="2940144186" sldId="2147470426"/>
            <ac:spMk id="10" creationId="{88C6FD9D-7C15-4659-A055-72870C4366B9}"/>
          </ac:spMkLst>
        </pc:spChg>
        <pc:spChg chg="add mod">
          <ac:chgData name="Sot, Urszula" userId="2a6be684-0ce0-42e4-a93c-6ee6cc224c18" providerId="ADAL" clId="{0A6D4C1C-927C-4363-ADA2-D0C311F1078F}" dt="2022-12-07T19:10:42.138" v="4442"/>
          <ac:spMkLst>
            <pc:docMk/>
            <pc:sldMk cId="2940144186" sldId="2147470426"/>
            <ac:spMk id="13" creationId="{42572EE0-1869-49EB-BC01-706755B6411F}"/>
          </ac:spMkLst>
        </pc:spChg>
        <pc:spChg chg="mod">
          <ac:chgData name="Sot, Urszula" userId="2a6be684-0ce0-42e4-a93c-6ee6cc224c18" providerId="ADAL" clId="{0A6D4C1C-927C-4363-ADA2-D0C311F1078F}" dt="2022-12-07T19:21:28.884" v="4558"/>
          <ac:spMkLst>
            <pc:docMk/>
            <pc:sldMk cId="2940144186" sldId="2147470426"/>
            <ac:spMk id="15" creationId="{ABB82EF5-93F9-4B66-A560-3C4FA163FFAC}"/>
          </ac:spMkLst>
        </pc:spChg>
        <pc:spChg chg="mod">
          <ac:chgData name="Sot, Urszula" userId="2a6be684-0ce0-42e4-a93c-6ee6cc224c18" providerId="ADAL" clId="{0A6D4C1C-927C-4363-ADA2-D0C311F1078F}" dt="2022-12-07T19:21:28.884" v="4558"/>
          <ac:spMkLst>
            <pc:docMk/>
            <pc:sldMk cId="2940144186" sldId="2147470426"/>
            <ac:spMk id="16" creationId="{3928CE12-19A0-48C9-9D7B-B32EAF064C8E}"/>
          </ac:spMkLst>
        </pc:spChg>
        <pc:spChg chg="mod">
          <ac:chgData name="Sot, Urszula" userId="2a6be684-0ce0-42e4-a93c-6ee6cc224c18" providerId="ADAL" clId="{0A6D4C1C-927C-4363-ADA2-D0C311F1078F}" dt="2022-12-07T19:21:28.884" v="4558"/>
          <ac:spMkLst>
            <pc:docMk/>
            <pc:sldMk cId="2940144186" sldId="2147470426"/>
            <ac:spMk id="17" creationId="{8A7C69DF-89F3-499C-8E1A-A37F7C246A28}"/>
          </ac:spMkLst>
        </pc:spChg>
        <pc:spChg chg="mod">
          <ac:chgData name="Sot, Urszula" userId="2a6be684-0ce0-42e4-a93c-6ee6cc224c18" providerId="ADAL" clId="{0A6D4C1C-927C-4363-ADA2-D0C311F1078F}" dt="2022-12-07T19:21:28.884" v="4558"/>
          <ac:spMkLst>
            <pc:docMk/>
            <pc:sldMk cId="2940144186" sldId="2147470426"/>
            <ac:spMk id="18" creationId="{429DB9DE-3765-463C-84ED-205957E50EF1}"/>
          </ac:spMkLst>
        </pc:spChg>
        <pc:spChg chg="mod">
          <ac:chgData name="Sot, Urszula" userId="2a6be684-0ce0-42e4-a93c-6ee6cc224c18" providerId="ADAL" clId="{0A6D4C1C-927C-4363-ADA2-D0C311F1078F}" dt="2022-12-07T19:21:28.884" v="4558"/>
          <ac:spMkLst>
            <pc:docMk/>
            <pc:sldMk cId="2940144186" sldId="2147470426"/>
            <ac:spMk id="19" creationId="{F8C916DC-529D-44F6-B00D-9810100A7C3E}"/>
          </ac:spMkLst>
        </pc:spChg>
        <pc:spChg chg="mod">
          <ac:chgData name="Sot, Urszula" userId="2a6be684-0ce0-42e4-a93c-6ee6cc224c18" providerId="ADAL" clId="{0A6D4C1C-927C-4363-ADA2-D0C311F1078F}" dt="2022-12-07T15:03:57.095" v="3597"/>
          <ac:spMkLst>
            <pc:docMk/>
            <pc:sldMk cId="2940144186" sldId="2147470426"/>
            <ac:spMk id="29" creationId="{CA5343BC-8C8A-7C45-B4B1-0B47BDCC474E}"/>
          </ac:spMkLst>
        </pc:spChg>
        <pc:spChg chg="mod">
          <ac:chgData name="Sot, Urszula" userId="2a6be684-0ce0-42e4-a93c-6ee6cc224c18" providerId="ADAL" clId="{0A6D4C1C-927C-4363-ADA2-D0C311F1078F}" dt="2022-12-07T15:23:10.288" v="3632" actId="113"/>
          <ac:spMkLst>
            <pc:docMk/>
            <pc:sldMk cId="2940144186" sldId="2147470426"/>
            <ac:spMk id="31" creationId="{FF644EAE-C4B4-1640-BE47-F2DC74B856F0}"/>
          </ac:spMkLst>
        </pc:spChg>
        <pc:grpChg chg="add mod">
          <ac:chgData name="Sot, Urszula" userId="2a6be684-0ce0-42e4-a93c-6ee6cc224c18" providerId="ADAL" clId="{0A6D4C1C-927C-4363-ADA2-D0C311F1078F}" dt="2022-12-07T19:21:28.884" v="4558"/>
          <ac:grpSpMkLst>
            <pc:docMk/>
            <pc:sldMk cId="2940144186" sldId="2147470426"/>
            <ac:grpSpMk id="14" creationId="{213053C7-C661-4B17-A00D-65E5236B406E}"/>
          </ac:grpSpMkLst>
        </pc:grpChg>
        <pc:graphicFrameChg chg="del">
          <ac:chgData name="Sot, Urszula" userId="2a6be684-0ce0-42e4-a93c-6ee6cc224c18" providerId="ADAL" clId="{0A6D4C1C-927C-4363-ADA2-D0C311F1078F}" dt="2022-12-07T15:03:26.654" v="3595" actId="21"/>
          <ac:graphicFrameMkLst>
            <pc:docMk/>
            <pc:sldMk cId="2940144186" sldId="2147470426"/>
            <ac:graphicFrameMk id="3" creationId="{F1D8F0B7-4C04-ABE4-F369-1B14600B7641}"/>
          </ac:graphicFrameMkLst>
        </pc:graphicFrameChg>
        <pc:picChg chg="del">
          <ac:chgData name="Sot, Urszula" userId="2a6be684-0ce0-42e4-a93c-6ee6cc224c18" providerId="ADAL" clId="{0A6D4C1C-927C-4363-ADA2-D0C311F1078F}" dt="2022-12-07T15:15:56.564" v="3607" actId="21"/>
          <ac:picMkLst>
            <pc:docMk/>
            <pc:sldMk cId="2940144186" sldId="2147470426"/>
            <ac:picMk id="5" creationId="{0718C9F7-6770-4E4B-F6D3-38BE0D1D92FA}"/>
          </ac:picMkLst>
        </pc:picChg>
        <pc:picChg chg="add mod">
          <ac:chgData name="Sot, Urszula" userId="2a6be684-0ce0-42e4-a93c-6ee6cc224c18" providerId="ADAL" clId="{0A6D4C1C-927C-4363-ADA2-D0C311F1078F}" dt="2022-12-07T15:16:32.083" v="3611" actId="1076"/>
          <ac:picMkLst>
            <pc:docMk/>
            <pc:sldMk cId="2940144186" sldId="2147470426"/>
            <ac:picMk id="6" creationId="{72055797-9989-45FF-8B35-A0C5371A9261}"/>
          </ac:picMkLst>
        </pc:picChg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1383063727" sldId="2147470427"/>
        </pc:sldMkLst>
      </pc:sldChg>
      <pc:sldChg chg="addSp modSp mod">
        <pc:chgData name="Sot, Urszula" userId="2a6be684-0ce0-42e4-a93c-6ee6cc224c18" providerId="ADAL" clId="{0A6D4C1C-927C-4363-ADA2-D0C311F1078F}" dt="2022-12-07T19:13:28.976" v="4513" actId="207"/>
        <pc:sldMkLst>
          <pc:docMk/>
          <pc:sldMk cId="706098444" sldId="2147471878"/>
        </pc:sldMkLst>
        <pc:spChg chg="mod">
          <ac:chgData name="Sot, Urszula" userId="2a6be684-0ce0-42e4-a93c-6ee6cc224c18" providerId="ADAL" clId="{0A6D4C1C-927C-4363-ADA2-D0C311F1078F}" dt="2022-12-07T19:13:28.976" v="4513" actId="207"/>
          <ac:spMkLst>
            <pc:docMk/>
            <pc:sldMk cId="706098444" sldId="2147471878"/>
            <ac:spMk id="2" creationId="{90607A59-B04D-4E5B-81F5-0BF25188D63A}"/>
          </ac:spMkLst>
        </pc:spChg>
        <pc:spChg chg="mod">
          <ac:chgData name="Sot, Urszula" userId="2a6be684-0ce0-42e4-a93c-6ee6cc224c18" providerId="ADAL" clId="{0A6D4C1C-927C-4363-ADA2-D0C311F1078F}" dt="2022-12-07T19:09:43.782" v="4428" actId="5793"/>
          <ac:spMkLst>
            <pc:docMk/>
            <pc:sldMk cId="706098444" sldId="2147471878"/>
            <ac:spMk id="3" creationId="{1713FA76-DF2B-4B36-9BA5-9BE26FEB75F4}"/>
          </ac:spMkLst>
        </pc:spChg>
        <pc:spChg chg="add mod">
          <ac:chgData name="Sot, Urszula" userId="2a6be684-0ce0-42e4-a93c-6ee6cc224c18" providerId="ADAL" clId="{0A6D4C1C-927C-4363-ADA2-D0C311F1078F}" dt="2022-12-07T19:09:41.014" v="4427"/>
          <ac:spMkLst>
            <pc:docMk/>
            <pc:sldMk cId="706098444" sldId="2147471878"/>
            <ac:spMk id="4" creationId="{09812C8C-14AD-4EE6-82F6-7C623C78D10D}"/>
          </ac:spMkLst>
        </pc:spChg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3229078032" sldId="2147473910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3238848061" sldId="2147473911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1459384641" sldId="2147473924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1902998072" sldId="2147473934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3402178582" sldId="2147473936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1499354670" sldId="2147473937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852195601" sldId="2147473938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995970201" sldId="2147473939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1003983900" sldId="2147473940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2344577785" sldId="2147473942"/>
        </pc:sldMkLst>
      </pc:sldChg>
      <pc:sldChg chg="del">
        <pc:chgData name="Sot, Urszula" userId="2a6be684-0ce0-42e4-a93c-6ee6cc224c18" providerId="ADAL" clId="{0A6D4C1C-927C-4363-ADA2-D0C311F1078F}" dt="2022-12-02T11:57:45.871" v="205" actId="18676"/>
        <pc:sldMkLst>
          <pc:docMk/>
          <pc:sldMk cId="431657037" sldId="2147473943"/>
        </pc:sldMkLst>
      </pc:sldChg>
      <pc:sldChg chg="addSp delSp modSp mod">
        <pc:chgData name="Sot, Urszula" userId="2a6be684-0ce0-42e4-a93c-6ee6cc224c18" providerId="ADAL" clId="{0A6D4C1C-927C-4363-ADA2-D0C311F1078F}" dt="2022-12-07T19:13:43.910" v="4515" actId="114"/>
        <pc:sldMkLst>
          <pc:docMk/>
          <pc:sldMk cId="1625782720" sldId="2147473944"/>
        </pc:sldMkLst>
        <pc:spChg chg="mod">
          <ac:chgData name="Sot, Urszula" userId="2a6be684-0ce0-42e4-a93c-6ee6cc224c18" providerId="ADAL" clId="{0A6D4C1C-927C-4363-ADA2-D0C311F1078F}" dt="2022-12-07T19:13:43.910" v="4515" actId="114"/>
          <ac:spMkLst>
            <pc:docMk/>
            <pc:sldMk cId="1625782720" sldId="2147473944"/>
            <ac:spMk id="5" creationId="{D0890A82-4C48-42B9-B434-7C799B4EB2B3}"/>
          </ac:spMkLst>
        </pc:spChg>
        <pc:spChg chg="add mod">
          <ac:chgData name="Sot, Urszula" userId="2a6be684-0ce0-42e4-a93c-6ee6cc224c18" providerId="ADAL" clId="{0A6D4C1C-927C-4363-ADA2-D0C311F1078F}" dt="2022-12-07T19:09:50.302" v="4429"/>
          <ac:spMkLst>
            <pc:docMk/>
            <pc:sldMk cId="1625782720" sldId="2147473944"/>
            <ac:spMk id="28" creationId="{5ED7F422-C223-4B27-8C37-0BE30BBFFFA5}"/>
          </ac:spMkLst>
        </pc:spChg>
        <pc:spChg chg="del">
          <ac:chgData name="Sot, Urszula" userId="2a6be684-0ce0-42e4-a93c-6ee6cc224c18" providerId="ADAL" clId="{0A6D4C1C-927C-4363-ADA2-D0C311F1078F}" dt="2022-12-07T08:54:46.369" v="1102" actId="21"/>
          <ac:spMkLst>
            <pc:docMk/>
            <pc:sldMk cId="1625782720" sldId="2147473944"/>
            <ac:spMk id="29" creationId="{DFEEA2D4-5E57-4254-B0B3-4A9485B2456E}"/>
          </ac:spMkLst>
        </pc:spChg>
        <pc:spChg chg="mod">
          <ac:chgData name="Sot, Urszula" userId="2a6be684-0ce0-42e4-a93c-6ee6cc224c18" providerId="ADAL" clId="{0A6D4C1C-927C-4363-ADA2-D0C311F1078F}" dt="2022-12-07T08:57:25.863" v="1178" actId="20577"/>
          <ac:spMkLst>
            <pc:docMk/>
            <pc:sldMk cId="1625782720" sldId="2147473944"/>
            <ac:spMk id="85" creationId="{20CB2556-F477-4408-BCE4-48A0743ECD0D}"/>
          </ac:spMkLst>
        </pc:spChg>
        <pc:spChg chg="mod">
          <ac:chgData name="Sot, Urszula" userId="2a6be684-0ce0-42e4-a93c-6ee6cc224c18" providerId="ADAL" clId="{0A6D4C1C-927C-4363-ADA2-D0C311F1078F}" dt="2022-12-07T09:09:03.967" v="1393" actId="20577"/>
          <ac:spMkLst>
            <pc:docMk/>
            <pc:sldMk cId="1625782720" sldId="2147473944"/>
            <ac:spMk id="87" creationId="{A2ED3FDB-C007-4615-A098-E77E6FFEA43C}"/>
          </ac:spMkLst>
        </pc:spChg>
        <pc:graphicFrameChg chg="del">
          <ac:chgData name="Sot, Urszula" userId="2a6be684-0ce0-42e4-a93c-6ee6cc224c18" providerId="ADAL" clId="{0A6D4C1C-927C-4363-ADA2-D0C311F1078F}" dt="2022-12-07T08:52:43.259" v="1031" actId="21"/>
          <ac:graphicFrameMkLst>
            <pc:docMk/>
            <pc:sldMk cId="1625782720" sldId="2147473944"/>
            <ac:graphicFrameMk id="4" creationId="{C9D1F9CA-C2CD-5FA1-9B04-3C33C4717D92}"/>
          </ac:graphicFrameMkLst>
        </pc:graphicFrameChg>
        <pc:graphicFrameChg chg="mod modGraphic">
          <ac:chgData name="Sot, Urszula" userId="2a6be684-0ce0-42e4-a93c-6ee6cc224c18" providerId="ADAL" clId="{0A6D4C1C-927C-4363-ADA2-D0C311F1078F}" dt="2022-12-07T12:11:12.072" v="2057"/>
          <ac:graphicFrameMkLst>
            <pc:docMk/>
            <pc:sldMk cId="1625782720" sldId="2147473944"/>
            <ac:graphicFrameMk id="62" creationId="{8FAA5A4E-5422-4D6A-A350-B407BDA6CC09}"/>
          </ac:graphicFrameMkLst>
        </pc:graphicFrameChg>
        <pc:picChg chg="mod">
          <ac:chgData name="Sot, Urszula" userId="2a6be684-0ce0-42e4-a93c-6ee6cc224c18" providerId="ADAL" clId="{0A6D4C1C-927C-4363-ADA2-D0C311F1078F}" dt="2022-12-07T09:09:49.449" v="1395" actId="1076"/>
          <ac:picMkLst>
            <pc:docMk/>
            <pc:sldMk cId="1625782720" sldId="2147473944"/>
            <ac:picMk id="65" creationId="{7529120D-65E5-49CD-9572-8F552937A05E}"/>
          </ac:picMkLst>
        </pc:picChg>
      </pc:sldChg>
      <pc:sldChg chg="del">
        <pc:chgData name="Sot, Urszula" userId="2a6be684-0ce0-42e4-a93c-6ee6cc224c18" providerId="ADAL" clId="{0A6D4C1C-927C-4363-ADA2-D0C311F1078F}" dt="2022-12-07T14:51:59.712" v="3506" actId="2696"/>
        <pc:sldMkLst>
          <pc:docMk/>
          <pc:sldMk cId="2241428457" sldId="2147473945"/>
        </pc:sldMkLst>
      </pc:sldChg>
      <pc:sldChg chg="del">
        <pc:chgData name="Sot, Urszula" userId="2a6be684-0ce0-42e4-a93c-6ee6cc224c18" providerId="ADAL" clId="{0A6D4C1C-927C-4363-ADA2-D0C311F1078F}" dt="2022-12-07T14:52:02.338" v="3507" actId="2696"/>
        <pc:sldMkLst>
          <pc:docMk/>
          <pc:sldMk cId="4166890044" sldId="2147473946"/>
        </pc:sldMkLst>
      </pc:sldChg>
      <pc:sldChg chg="addSp delSp modSp del mod">
        <pc:chgData name="Sot, Urszula" userId="2a6be684-0ce0-42e4-a93c-6ee6cc224c18" providerId="ADAL" clId="{0A6D4C1C-927C-4363-ADA2-D0C311F1078F}" dt="2022-12-07T14:51:54.197" v="3505" actId="2696"/>
        <pc:sldMkLst>
          <pc:docMk/>
          <pc:sldMk cId="2605706247" sldId="2147473947"/>
        </pc:sldMkLst>
        <pc:graphicFrameChg chg="del">
          <ac:chgData name="Sot, Urszula" userId="2a6be684-0ce0-42e4-a93c-6ee6cc224c18" providerId="ADAL" clId="{0A6D4C1C-927C-4363-ADA2-D0C311F1078F}" dt="2022-12-07T14:27:39.702" v="3330" actId="21"/>
          <ac:graphicFrameMkLst>
            <pc:docMk/>
            <pc:sldMk cId="2605706247" sldId="2147473947"/>
            <ac:graphicFrameMk id="8" creationId="{32EA4DB6-0188-A433-BF2D-71780BB25887}"/>
          </ac:graphicFrameMkLst>
        </pc:graphicFrameChg>
        <pc:picChg chg="del">
          <ac:chgData name="Sot, Urszula" userId="2a6be684-0ce0-42e4-a93c-6ee6cc224c18" providerId="ADAL" clId="{0A6D4C1C-927C-4363-ADA2-D0C311F1078F}" dt="2022-12-07T14:28:15.241" v="3332" actId="21"/>
          <ac:picMkLst>
            <pc:docMk/>
            <pc:sldMk cId="2605706247" sldId="2147473947"/>
            <ac:picMk id="5" creationId="{546ED9AC-B1F0-984B-B8AD-9FA3E087538A}"/>
          </ac:picMkLst>
        </pc:picChg>
        <pc:picChg chg="add mod">
          <ac:chgData name="Sot, Urszula" userId="2a6be684-0ce0-42e4-a93c-6ee6cc224c18" providerId="ADAL" clId="{0A6D4C1C-927C-4363-ADA2-D0C311F1078F}" dt="2022-12-07T14:28:17.223" v="3333" actId="1076"/>
          <ac:picMkLst>
            <pc:docMk/>
            <pc:sldMk cId="2605706247" sldId="2147473947"/>
            <ac:picMk id="6" creationId="{588FE879-381C-42CD-A25C-91D7E498BDD2}"/>
          </ac:picMkLst>
        </pc:picChg>
      </pc:sldChg>
      <pc:sldChg chg="addSp delSp modSp new mod">
        <pc:chgData name="Sot, Urszula" userId="2a6be684-0ce0-42e4-a93c-6ee6cc224c18" providerId="ADAL" clId="{0A6D4C1C-927C-4363-ADA2-D0C311F1078F}" dt="2022-12-07T15:40:36.370" v="3862" actId="20577"/>
        <pc:sldMkLst>
          <pc:docMk/>
          <pc:sldMk cId="1194541451" sldId="2147473948"/>
        </pc:sldMkLst>
        <pc:spChg chg="mod">
          <ac:chgData name="Sot, Urszula" userId="2a6be684-0ce0-42e4-a93c-6ee6cc224c18" providerId="ADAL" clId="{0A6D4C1C-927C-4363-ADA2-D0C311F1078F}" dt="2022-12-07T15:40:04.764" v="3836" actId="207"/>
          <ac:spMkLst>
            <pc:docMk/>
            <pc:sldMk cId="1194541451" sldId="2147473948"/>
            <ac:spMk id="2" creationId="{DB3B5E6C-1E6B-459A-84B5-0B82193D3431}"/>
          </ac:spMkLst>
        </pc:spChg>
        <pc:spChg chg="mod">
          <ac:chgData name="Sot, Urszula" userId="2a6be684-0ce0-42e4-a93c-6ee6cc224c18" providerId="ADAL" clId="{0A6D4C1C-927C-4363-ADA2-D0C311F1078F}" dt="2022-12-07T15:40:36.370" v="3862" actId="20577"/>
          <ac:spMkLst>
            <pc:docMk/>
            <pc:sldMk cId="1194541451" sldId="2147473948"/>
            <ac:spMk id="3" creationId="{F924B4B8-1913-494B-B6D9-7FD15C426377}"/>
          </ac:spMkLst>
        </pc:spChg>
        <pc:spChg chg="add mod">
          <ac:chgData name="Sot, Urszula" userId="2a6be684-0ce0-42e4-a93c-6ee6cc224c18" providerId="ADAL" clId="{0A6D4C1C-927C-4363-ADA2-D0C311F1078F}" dt="2022-12-02T13:13:50.890" v="401" actId="20577"/>
          <ac:spMkLst>
            <pc:docMk/>
            <pc:sldMk cId="1194541451" sldId="2147473948"/>
            <ac:spMk id="8" creationId="{AFFF857B-0B28-4A33-B290-5F253A39F2F3}"/>
          </ac:spMkLst>
        </pc:spChg>
        <pc:graphicFrameChg chg="add mod modGraphic">
          <ac:chgData name="Sot, Urszula" userId="2a6be684-0ce0-42e4-a93c-6ee6cc224c18" providerId="ADAL" clId="{0A6D4C1C-927C-4363-ADA2-D0C311F1078F}" dt="2022-12-02T13:15:57.100" v="410" actId="113"/>
          <ac:graphicFrameMkLst>
            <pc:docMk/>
            <pc:sldMk cId="1194541451" sldId="2147473948"/>
            <ac:graphicFrameMk id="4" creationId="{B011A363-CA3C-4C39-B556-B4E7AAA2F543}"/>
          </ac:graphicFrameMkLst>
        </pc:graphicFrameChg>
        <pc:picChg chg="add del mod">
          <ac:chgData name="Sot, Urszula" userId="2a6be684-0ce0-42e4-a93c-6ee6cc224c18" providerId="ADAL" clId="{0A6D4C1C-927C-4363-ADA2-D0C311F1078F}" dt="2022-12-02T13:11:37.053" v="373" actId="21"/>
          <ac:picMkLst>
            <pc:docMk/>
            <pc:sldMk cId="1194541451" sldId="2147473948"/>
            <ac:picMk id="6" creationId="{683C2D96-C788-4EF9-A66B-10D40BA2CBD2}"/>
          </ac:picMkLst>
        </pc:picChg>
      </pc:sldChg>
      <pc:sldChg chg="del">
        <pc:chgData name="Sot, Urszula" userId="2a6be684-0ce0-42e4-a93c-6ee6cc224c18" providerId="ADAL" clId="{0A6D4C1C-927C-4363-ADA2-D0C311F1078F}" dt="2022-12-02T11:53:07.442" v="174" actId="2696"/>
        <pc:sldMkLst>
          <pc:docMk/>
          <pc:sldMk cId="1393118503" sldId="2147473948"/>
        </pc:sldMkLst>
      </pc:sldChg>
      <pc:sldChg chg="addSp delSp modSp new mod">
        <pc:chgData name="Sot, Urszula" userId="2a6be684-0ce0-42e4-a93c-6ee6cc224c18" providerId="ADAL" clId="{0A6D4C1C-927C-4363-ADA2-D0C311F1078F}" dt="2022-12-07T16:02:22.385" v="3896" actId="962"/>
        <pc:sldMkLst>
          <pc:docMk/>
          <pc:sldMk cId="1063649148" sldId="2147473949"/>
        </pc:sldMkLst>
        <pc:spChg chg="mod">
          <ac:chgData name="Sot, Urszula" userId="2a6be684-0ce0-42e4-a93c-6ee6cc224c18" providerId="ADAL" clId="{0A6D4C1C-927C-4363-ADA2-D0C311F1078F}" dt="2022-12-07T15:40:49.950" v="3863" actId="207"/>
          <ac:spMkLst>
            <pc:docMk/>
            <pc:sldMk cId="1063649148" sldId="2147473949"/>
            <ac:spMk id="2" creationId="{8B4AA00F-5D0A-455A-B123-2B9A03B841A6}"/>
          </ac:spMkLst>
        </pc:spChg>
        <pc:spChg chg="del">
          <ac:chgData name="Sot, Urszula" userId="2a6be684-0ce0-42e4-a93c-6ee6cc224c18" providerId="ADAL" clId="{0A6D4C1C-927C-4363-ADA2-D0C311F1078F}" dt="2022-12-02T13:23:43.549" v="487" actId="21"/>
          <ac:spMkLst>
            <pc:docMk/>
            <pc:sldMk cId="1063649148" sldId="2147473949"/>
            <ac:spMk id="3" creationId="{DEE92259-FF7F-4BA3-9E5E-611CAEBF37F2}"/>
          </ac:spMkLst>
        </pc:spChg>
        <pc:spChg chg="add mod">
          <ac:chgData name="Sot, Urszula" userId="2a6be684-0ce0-42e4-a93c-6ee6cc224c18" providerId="ADAL" clId="{0A6D4C1C-927C-4363-ADA2-D0C311F1078F}" dt="2022-12-02T13:25:03.839" v="497" actId="14100"/>
          <ac:spMkLst>
            <pc:docMk/>
            <pc:sldMk cId="1063649148" sldId="2147473949"/>
            <ac:spMk id="9" creationId="{9DD25659-38E9-4102-9234-E2C73FFA2A45}"/>
          </ac:spMkLst>
        </pc:spChg>
        <pc:spChg chg="add del">
          <ac:chgData name="Sot, Urszula" userId="2a6be684-0ce0-42e4-a93c-6ee6cc224c18" providerId="ADAL" clId="{0A6D4C1C-927C-4363-ADA2-D0C311F1078F}" dt="2022-12-07T15:59:24.931" v="3877" actId="21"/>
          <ac:spMkLst>
            <pc:docMk/>
            <pc:sldMk cId="1063649148" sldId="2147473949"/>
            <ac:spMk id="10" creationId="{CDC40B76-0BA7-44D8-B7A1-33661D6126A4}"/>
          </ac:spMkLst>
        </pc:spChg>
        <pc:spChg chg="add mod">
          <ac:chgData name="Sot, Urszula" userId="2a6be684-0ce0-42e4-a93c-6ee6cc224c18" providerId="ADAL" clId="{0A6D4C1C-927C-4363-ADA2-D0C311F1078F}" dt="2022-12-02T13:25:56.011" v="502" actId="1076"/>
          <ac:spMkLst>
            <pc:docMk/>
            <pc:sldMk cId="1063649148" sldId="2147473949"/>
            <ac:spMk id="11" creationId="{99A90B29-C5E3-48EF-B119-0ACCBA8D3E32}"/>
          </ac:spMkLst>
        </pc:spChg>
        <pc:spChg chg="add mod">
          <ac:chgData name="Sot, Urszula" userId="2a6be684-0ce0-42e4-a93c-6ee6cc224c18" providerId="ADAL" clId="{0A6D4C1C-927C-4363-ADA2-D0C311F1078F}" dt="2022-12-07T15:59:38.739" v="3878" actId="207"/>
          <ac:spMkLst>
            <pc:docMk/>
            <pc:sldMk cId="1063649148" sldId="2147473949"/>
            <ac:spMk id="13" creationId="{0A6DD5BE-02F0-4093-A4D2-B6906DD1EEF0}"/>
          </ac:spMkLst>
        </pc:spChg>
        <pc:picChg chg="add del mod">
          <ac:chgData name="Sot, Urszula" userId="2a6be684-0ce0-42e4-a93c-6ee6cc224c18" providerId="ADAL" clId="{0A6D4C1C-927C-4363-ADA2-D0C311F1078F}" dt="2022-12-07T16:01:41.357" v="3886" actId="21"/>
          <ac:picMkLst>
            <pc:docMk/>
            <pc:sldMk cId="1063649148" sldId="2147473949"/>
            <ac:picMk id="5" creationId="{985948CC-7D9D-46CB-827C-FB258C49A78B}"/>
          </ac:picMkLst>
        </pc:picChg>
        <pc:picChg chg="add mod">
          <ac:chgData name="Sot, Urszula" userId="2a6be684-0ce0-42e4-a93c-6ee6cc224c18" providerId="ADAL" clId="{0A6D4C1C-927C-4363-ADA2-D0C311F1078F}" dt="2022-12-07T16:01:50.283" v="3890" actId="1076"/>
          <ac:picMkLst>
            <pc:docMk/>
            <pc:sldMk cId="1063649148" sldId="2147473949"/>
            <ac:picMk id="6" creationId="{0E3B3D1D-B4E9-4A24-996D-E649D922DEAE}"/>
          </ac:picMkLst>
        </pc:picChg>
        <pc:picChg chg="add del mod">
          <ac:chgData name="Sot, Urszula" userId="2a6be684-0ce0-42e4-a93c-6ee6cc224c18" providerId="ADAL" clId="{0A6D4C1C-927C-4363-ADA2-D0C311F1078F}" dt="2022-12-07T16:02:07.209" v="3891" actId="21"/>
          <ac:picMkLst>
            <pc:docMk/>
            <pc:sldMk cId="1063649148" sldId="2147473949"/>
            <ac:picMk id="7" creationId="{33987009-F520-4F08-AED7-92A91C0414CC}"/>
          </ac:picMkLst>
        </pc:picChg>
        <pc:picChg chg="add mod">
          <ac:chgData name="Sot, Urszula" userId="2a6be684-0ce0-42e4-a93c-6ee6cc224c18" providerId="ADAL" clId="{0A6D4C1C-927C-4363-ADA2-D0C311F1078F}" dt="2022-12-07T16:02:22.385" v="3896" actId="962"/>
          <ac:picMkLst>
            <pc:docMk/>
            <pc:sldMk cId="1063649148" sldId="2147473949"/>
            <ac:picMk id="12" creationId="{438298E9-99AC-4541-B954-E17F697BC675}"/>
          </ac:picMkLst>
        </pc:picChg>
      </pc:sldChg>
      <pc:sldChg chg="del">
        <pc:chgData name="Sot, Urszula" userId="2a6be684-0ce0-42e4-a93c-6ee6cc224c18" providerId="ADAL" clId="{0A6D4C1C-927C-4363-ADA2-D0C311F1078F}" dt="2022-12-02T11:53:09.774" v="175" actId="2696"/>
        <pc:sldMkLst>
          <pc:docMk/>
          <pc:sldMk cId="2952888164" sldId="2147473949"/>
        </pc:sldMkLst>
      </pc:sldChg>
      <pc:sldChg chg="del">
        <pc:chgData name="Sot, Urszula" userId="2a6be684-0ce0-42e4-a93c-6ee6cc224c18" providerId="ADAL" clId="{0A6D4C1C-927C-4363-ADA2-D0C311F1078F}" dt="2022-12-02T13:39:54.237" v="655" actId="2696"/>
        <pc:sldMkLst>
          <pc:docMk/>
          <pc:sldMk cId="957769637" sldId="2147473950"/>
        </pc:sldMkLst>
      </pc:sldChg>
      <pc:sldChg chg="del">
        <pc:chgData name="Sot, Urszula" userId="2a6be684-0ce0-42e4-a93c-6ee6cc224c18" providerId="ADAL" clId="{0A6D4C1C-927C-4363-ADA2-D0C311F1078F}" dt="2022-12-02T11:53:24.860" v="192" actId="2696"/>
        <pc:sldMkLst>
          <pc:docMk/>
          <pc:sldMk cId="3029820181" sldId="2147473950"/>
        </pc:sldMkLst>
      </pc:sldChg>
      <pc:sldChg chg="addSp delSp modSp new mod ord">
        <pc:chgData name="Sot, Urszula" userId="2a6be684-0ce0-42e4-a93c-6ee6cc224c18" providerId="ADAL" clId="{0A6D4C1C-927C-4363-ADA2-D0C311F1078F}" dt="2022-12-07T19:16:24.469" v="4530" actId="255"/>
        <pc:sldMkLst>
          <pc:docMk/>
          <pc:sldMk cId="485211449" sldId="2147473951"/>
        </pc:sldMkLst>
        <pc:spChg chg="mod">
          <ac:chgData name="Sot, Urszula" userId="2a6be684-0ce0-42e4-a93c-6ee6cc224c18" providerId="ADAL" clId="{0A6D4C1C-927C-4363-ADA2-D0C311F1078F}" dt="2022-12-07T19:16:24.469" v="4530" actId="255"/>
          <ac:spMkLst>
            <pc:docMk/>
            <pc:sldMk cId="485211449" sldId="2147473951"/>
            <ac:spMk id="2" creationId="{BF09923F-2872-4E29-8549-73EE860D71FC}"/>
          </ac:spMkLst>
        </pc:spChg>
        <pc:spChg chg="mod">
          <ac:chgData name="Sot, Urszula" userId="2a6be684-0ce0-42e4-a93c-6ee6cc224c18" providerId="ADAL" clId="{0A6D4C1C-927C-4363-ADA2-D0C311F1078F}" dt="2022-12-02T13:44:39.927" v="923" actId="20577"/>
          <ac:spMkLst>
            <pc:docMk/>
            <pc:sldMk cId="485211449" sldId="2147473951"/>
            <ac:spMk id="3" creationId="{8A99A492-2D93-4D8B-8C15-A10DA9AA13BE}"/>
          </ac:spMkLst>
        </pc:spChg>
        <pc:spChg chg="add mod">
          <ac:chgData name="Sot, Urszula" userId="2a6be684-0ce0-42e4-a93c-6ee6cc224c18" providerId="ADAL" clId="{0A6D4C1C-927C-4363-ADA2-D0C311F1078F}" dt="2022-12-07T16:04:05.648" v="3930"/>
          <ac:spMkLst>
            <pc:docMk/>
            <pc:sldMk cId="485211449" sldId="2147473951"/>
            <ac:spMk id="8" creationId="{02A94BFC-3AD5-4BB0-8F26-278040468528}"/>
          </ac:spMkLst>
        </pc:spChg>
        <pc:picChg chg="add mod">
          <ac:chgData name="Sot, Urszula" userId="2a6be684-0ce0-42e4-a93c-6ee6cc224c18" providerId="ADAL" clId="{0A6D4C1C-927C-4363-ADA2-D0C311F1078F}" dt="2022-12-07T16:03:45.905" v="3927" actId="1076"/>
          <ac:picMkLst>
            <pc:docMk/>
            <pc:sldMk cId="485211449" sldId="2147473951"/>
            <ac:picMk id="5" creationId="{857BC0BA-5CC5-436F-966B-F33101610FE9}"/>
          </ac:picMkLst>
        </pc:picChg>
        <pc:picChg chg="add del mod">
          <ac:chgData name="Sot, Urszula" userId="2a6be684-0ce0-42e4-a93c-6ee6cc224c18" providerId="ADAL" clId="{0A6D4C1C-927C-4363-ADA2-D0C311F1078F}" dt="2022-12-02T13:36:22.861" v="607" actId="21"/>
          <ac:picMkLst>
            <pc:docMk/>
            <pc:sldMk cId="485211449" sldId="2147473951"/>
            <ac:picMk id="5" creationId="{92F916DF-FCE3-4C78-9A3D-A30F4657CCF4}"/>
          </ac:picMkLst>
        </pc:picChg>
        <pc:picChg chg="add del mod">
          <ac:chgData name="Sot, Urszula" userId="2a6be684-0ce0-42e4-a93c-6ee6cc224c18" providerId="ADAL" clId="{0A6D4C1C-927C-4363-ADA2-D0C311F1078F}" dt="2022-12-07T16:03:27.537" v="3917" actId="21"/>
          <ac:picMkLst>
            <pc:docMk/>
            <pc:sldMk cId="485211449" sldId="2147473951"/>
            <ac:picMk id="7" creationId="{F15E746C-6BAE-4D23-9130-F69F17FBA57B}"/>
          </ac:picMkLst>
        </pc:picChg>
        <pc:picChg chg="add mod">
          <ac:chgData name="Sot, Urszula" userId="2a6be684-0ce0-42e4-a93c-6ee6cc224c18" providerId="ADAL" clId="{0A6D4C1C-927C-4363-ADA2-D0C311F1078F}" dt="2022-12-07T16:03:50.008" v="3929" actId="1076"/>
          <ac:picMkLst>
            <pc:docMk/>
            <pc:sldMk cId="485211449" sldId="2147473951"/>
            <ac:picMk id="9" creationId="{0C96E62B-F02E-401F-83B7-BB0D5A21A23F}"/>
          </ac:picMkLst>
        </pc:picChg>
      </pc:sldChg>
      <pc:sldChg chg="del">
        <pc:chgData name="Sot, Urszula" userId="2a6be684-0ce0-42e4-a93c-6ee6cc224c18" providerId="ADAL" clId="{0A6D4C1C-927C-4363-ADA2-D0C311F1078F}" dt="2022-12-02T11:53:25.475" v="193" actId="2696"/>
        <pc:sldMkLst>
          <pc:docMk/>
          <pc:sldMk cId="2938322089" sldId="2147473951"/>
        </pc:sldMkLst>
      </pc:sldChg>
      <pc:sldChg chg="addSp delSp modSp mod ord">
        <pc:chgData name="Sot, Urszula" userId="2a6be684-0ce0-42e4-a93c-6ee6cc224c18" providerId="ADAL" clId="{0A6D4C1C-927C-4363-ADA2-D0C311F1078F}" dt="2022-12-07T19:16:11.773" v="4528" actId="113"/>
        <pc:sldMkLst>
          <pc:docMk/>
          <pc:sldMk cId="1846457260" sldId="2147473952"/>
        </pc:sldMkLst>
        <pc:spChg chg="mod">
          <ac:chgData name="Sot, Urszula" userId="2a6be684-0ce0-42e4-a93c-6ee6cc224c18" providerId="ADAL" clId="{0A6D4C1C-927C-4363-ADA2-D0C311F1078F}" dt="2022-12-07T19:16:11.773" v="4528" actId="113"/>
          <ac:spMkLst>
            <pc:docMk/>
            <pc:sldMk cId="1846457260" sldId="2147473952"/>
            <ac:spMk id="2" creationId="{BF09923F-2872-4E29-8549-73EE860D71FC}"/>
          </ac:spMkLst>
        </pc:spChg>
        <pc:spChg chg="mod">
          <ac:chgData name="Sot, Urszula" userId="2a6be684-0ce0-42e4-a93c-6ee6cc224c18" providerId="ADAL" clId="{0A6D4C1C-927C-4363-ADA2-D0C311F1078F}" dt="2022-12-02T13:44:19.300" v="916" actId="20577"/>
          <ac:spMkLst>
            <pc:docMk/>
            <pc:sldMk cId="1846457260" sldId="2147473952"/>
            <ac:spMk id="3" creationId="{8A99A492-2D93-4D8B-8C15-A10DA9AA13BE}"/>
          </ac:spMkLst>
        </pc:spChg>
        <pc:spChg chg="add mod">
          <ac:chgData name="Sot, Urszula" userId="2a6be684-0ce0-42e4-a93c-6ee6cc224c18" providerId="ADAL" clId="{0A6D4C1C-927C-4363-ADA2-D0C311F1078F}" dt="2022-12-07T16:01:02.444" v="3882"/>
          <ac:spMkLst>
            <pc:docMk/>
            <pc:sldMk cId="1846457260" sldId="2147473952"/>
            <ac:spMk id="6" creationId="{9259E6C5-04CE-4515-9156-F6B0CDF7FA49}"/>
          </ac:spMkLst>
        </pc:spChg>
        <pc:picChg chg="del mod">
          <ac:chgData name="Sot, Urszula" userId="2a6be684-0ce0-42e4-a93c-6ee6cc224c18" providerId="ADAL" clId="{0A6D4C1C-927C-4363-ADA2-D0C311F1078F}" dt="2022-12-07T16:02:26.010" v="3897" actId="21"/>
          <ac:picMkLst>
            <pc:docMk/>
            <pc:sldMk cId="1846457260" sldId="2147473952"/>
            <ac:picMk id="5" creationId="{92F916DF-FCE3-4C78-9A3D-A30F4657CCF4}"/>
          </ac:picMkLst>
        </pc:picChg>
        <pc:picChg chg="add del mod">
          <ac:chgData name="Sot, Urszula" userId="2a6be684-0ce0-42e4-a93c-6ee6cc224c18" providerId="ADAL" clId="{0A6D4C1C-927C-4363-ADA2-D0C311F1078F}" dt="2022-12-07T16:02:58.260" v="3908" actId="931"/>
          <ac:picMkLst>
            <pc:docMk/>
            <pc:sldMk cId="1846457260" sldId="2147473952"/>
            <ac:picMk id="7" creationId="{5D308647-0AEA-46C3-8D0F-D444D5D73D5F}"/>
          </ac:picMkLst>
        </pc:picChg>
        <pc:picChg chg="add del mod">
          <ac:chgData name="Sot, Urszula" userId="2a6be684-0ce0-42e4-a93c-6ee6cc224c18" providerId="ADAL" clId="{0A6D4C1C-927C-4363-ADA2-D0C311F1078F}" dt="2022-12-07T16:02:58.260" v="3908" actId="931"/>
          <ac:picMkLst>
            <pc:docMk/>
            <pc:sldMk cId="1846457260" sldId="2147473952"/>
            <ac:picMk id="9" creationId="{26EDD637-6F08-42A6-BB9F-32EB86D821F1}"/>
          </ac:picMkLst>
        </pc:picChg>
        <pc:picChg chg="add mod">
          <ac:chgData name="Sot, Urszula" userId="2a6be684-0ce0-42e4-a93c-6ee6cc224c18" providerId="ADAL" clId="{0A6D4C1C-927C-4363-ADA2-D0C311F1078F}" dt="2022-12-07T16:03:07.315" v="3912" actId="962"/>
          <ac:picMkLst>
            <pc:docMk/>
            <pc:sldMk cId="1846457260" sldId="2147473952"/>
            <ac:picMk id="11" creationId="{5C54B421-AADD-4CC7-883E-04D9EE852319}"/>
          </ac:picMkLst>
        </pc:picChg>
        <pc:picChg chg="add mod">
          <ac:chgData name="Sot, Urszula" userId="2a6be684-0ce0-42e4-a93c-6ee6cc224c18" providerId="ADAL" clId="{0A6D4C1C-927C-4363-ADA2-D0C311F1078F}" dt="2022-12-07T16:03:16.441" v="3916" actId="962"/>
          <ac:picMkLst>
            <pc:docMk/>
            <pc:sldMk cId="1846457260" sldId="2147473952"/>
            <ac:picMk id="13" creationId="{42922C16-E870-4DDB-A40A-305F29E417D3}"/>
          </ac:picMkLst>
        </pc:picChg>
      </pc:sldChg>
      <pc:sldChg chg="del">
        <pc:chgData name="Sot, Urszula" userId="2a6be684-0ce0-42e4-a93c-6ee6cc224c18" providerId="ADAL" clId="{0A6D4C1C-927C-4363-ADA2-D0C311F1078F}" dt="2022-12-02T11:53:28.530" v="194" actId="2696"/>
        <pc:sldMkLst>
          <pc:docMk/>
          <pc:sldMk cId="2696609582" sldId="2147473952"/>
        </pc:sldMkLst>
      </pc:sldChg>
      <pc:sldChg chg="del">
        <pc:chgData name="Sot, Urszula" userId="2a6be684-0ce0-42e4-a93c-6ee6cc224c18" providerId="ADAL" clId="{0A6D4C1C-927C-4363-ADA2-D0C311F1078F}" dt="2022-12-02T11:53:34.802" v="200" actId="2696"/>
        <pc:sldMkLst>
          <pc:docMk/>
          <pc:sldMk cId="2305515580" sldId="2147473953"/>
        </pc:sldMkLst>
      </pc:sldChg>
      <pc:sldChg chg="addSp modSp new mod">
        <pc:chgData name="Sot, Urszula" userId="2a6be684-0ce0-42e4-a93c-6ee6cc224c18" providerId="ADAL" clId="{0A6D4C1C-927C-4363-ADA2-D0C311F1078F}" dt="2022-12-07T19:16:31.291" v="4532" actId="207"/>
        <pc:sldMkLst>
          <pc:docMk/>
          <pc:sldMk cId="3689038654" sldId="2147473953"/>
        </pc:sldMkLst>
        <pc:spChg chg="mod">
          <ac:chgData name="Sot, Urszula" userId="2a6be684-0ce0-42e4-a93c-6ee6cc224c18" providerId="ADAL" clId="{0A6D4C1C-927C-4363-ADA2-D0C311F1078F}" dt="2022-12-07T19:16:31.291" v="4532" actId="207"/>
          <ac:spMkLst>
            <pc:docMk/>
            <pc:sldMk cId="3689038654" sldId="2147473953"/>
            <ac:spMk id="2" creationId="{3EA33AB4-10AA-465B-A1AF-008352603C40}"/>
          </ac:spMkLst>
        </pc:spChg>
        <pc:spChg chg="mod">
          <ac:chgData name="Sot, Urszula" userId="2a6be684-0ce0-42e4-a93c-6ee6cc224c18" providerId="ADAL" clId="{0A6D4C1C-927C-4363-ADA2-D0C311F1078F}" dt="2022-12-02T13:39:31.186" v="654" actId="12"/>
          <ac:spMkLst>
            <pc:docMk/>
            <pc:sldMk cId="3689038654" sldId="2147473953"/>
            <ac:spMk id="3" creationId="{AF353ABB-1FE2-4E12-A583-2FF1E979D2B4}"/>
          </ac:spMkLst>
        </pc:spChg>
        <pc:spChg chg="add mod">
          <ac:chgData name="Sot, Urszula" userId="2a6be684-0ce0-42e4-a93c-6ee6cc224c18" providerId="ADAL" clId="{0A6D4C1C-927C-4363-ADA2-D0C311F1078F}" dt="2022-12-07T16:04:35.150" v="3931"/>
          <ac:spMkLst>
            <pc:docMk/>
            <pc:sldMk cId="3689038654" sldId="2147473953"/>
            <ac:spMk id="4" creationId="{BD77180C-0FBD-4970-B0E3-A5EBBE8D9B96}"/>
          </ac:spMkLst>
        </pc:spChg>
      </pc:sldChg>
      <pc:sldChg chg="del">
        <pc:chgData name="Sot, Urszula" userId="2a6be684-0ce0-42e4-a93c-6ee6cc224c18" providerId="ADAL" clId="{0A6D4C1C-927C-4363-ADA2-D0C311F1078F}" dt="2022-12-02T11:56:23.649" v="204" actId="2696"/>
        <pc:sldMkLst>
          <pc:docMk/>
          <pc:sldMk cId="722854563" sldId="2147473954"/>
        </pc:sldMkLst>
      </pc:sldChg>
      <pc:sldChg chg="addSp modSp new mod">
        <pc:chgData name="Sot, Urszula" userId="2a6be684-0ce0-42e4-a93c-6ee6cc224c18" providerId="ADAL" clId="{0A6D4C1C-927C-4363-ADA2-D0C311F1078F}" dt="2022-12-07T19:15:57.342" v="4526" actId="113"/>
        <pc:sldMkLst>
          <pc:docMk/>
          <pc:sldMk cId="4045736881" sldId="2147473954"/>
        </pc:sldMkLst>
        <pc:spChg chg="mod">
          <ac:chgData name="Sot, Urszula" userId="2a6be684-0ce0-42e4-a93c-6ee6cc224c18" providerId="ADAL" clId="{0A6D4C1C-927C-4363-ADA2-D0C311F1078F}" dt="2022-12-07T19:15:57.342" v="4526" actId="113"/>
          <ac:spMkLst>
            <pc:docMk/>
            <pc:sldMk cId="4045736881" sldId="2147473954"/>
            <ac:spMk id="2" creationId="{571646B5-AE57-4888-B934-3D126A21E10D}"/>
          </ac:spMkLst>
        </pc:spChg>
        <pc:spChg chg="mod">
          <ac:chgData name="Sot, Urszula" userId="2a6be684-0ce0-42e4-a93c-6ee6cc224c18" providerId="ADAL" clId="{0A6D4C1C-927C-4363-ADA2-D0C311F1078F}" dt="2022-12-07T16:00:51.048" v="3881" actId="14100"/>
          <ac:spMkLst>
            <pc:docMk/>
            <pc:sldMk cId="4045736881" sldId="2147473954"/>
            <ac:spMk id="3" creationId="{1B718B25-5CE8-4D78-9FF1-B861D2A8AC56}"/>
          </ac:spMkLst>
        </pc:spChg>
        <pc:spChg chg="add mod">
          <ac:chgData name="Sot, Urszula" userId="2a6be684-0ce0-42e4-a93c-6ee6cc224c18" providerId="ADAL" clId="{0A6D4C1C-927C-4363-ADA2-D0C311F1078F}" dt="2022-12-07T16:00:39.644" v="3879"/>
          <ac:spMkLst>
            <pc:docMk/>
            <pc:sldMk cId="4045736881" sldId="2147473954"/>
            <ac:spMk id="4" creationId="{776B5685-8FEC-4A24-A81B-2576F489E153}"/>
          </ac:spMkLst>
        </pc:spChg>
      </pc:sldChg>
      <pc:sldChg chg="addSp delSp modSp new mod">
        <pc:chgData name="Sot, Urszula" userId="2a6be684-0ce0-42e4-a93c-6ee6cc224c18" providerId="ADAL" clId="{0A6D4C1C-927C-4363-ADA2-D0C311F1078F}" dt="2022-12-07T19:19:17.318" v="4534" actId="113"/>
        <pc:sldMkLst>
          <pc:docMk/>
          <pc:sldMk cId="85576740" sldId="2147473955"/>
        </pc:sldMkLst>
        <pc:spChg chg="mod">
          <ac:chgData name="Sot, Urszula" userId="2a6be684-0ce0-42e4-a93c-6ee6cc224c18" providerId="ADAL" clId="{0A6D4C1C-927C-4363-ADA2-D0C311F1078F}" dt="2022-12-07T19:13:22.746" v="4512" actId="207"/>
          <ac:spMkLst>
            <pc:docMk/>
            <pc:sldMk cId="85576740" sldId="2147473955"/>
            <ac:spMk id="2" creationId="{D7501456-54D7-4FBA-B398-DF49E1C2DFCB}"/>
          </ac:spMkLst>
        </pc:spChg>
        <pc:spChg chg="mod">
          <ac:chgData name="Sot, Urszula" userId="2a6be684-0ce0-42e4-a93c-6ee6cc224c18" providerId="ADAL" clId="{0A6D4C1C-927C-4363-ADA2-D0C311F1078F}" dt="2022-12-07T19:19:17.318" v="4534" actId="113"/>
          <ac:spMkLst>
            <pc:docMk/>
            <pc:sldMk cId="85576740" sldId="2147473955"/>
            <ac:spMk id="3" creationId="{EB5CFBDE-F16D-43E5-9459-02B38A734E5F}"/>
          </ac:spMkLst>
        </pc:spChg>
        <pc:spChg chg="add mod">
          <ac:chgData name="Sot, Urszula" userId="2a6be684-0ce0-42e4-a93c-6ee6cc224c18" providerId="ADAL" clId="{0A6D4C1C-927C-4363-ADA2-D0C311F1078F}" dt="2022-12-07T19:09:32.492" v="4426"/>
          <ac:spMkLst>
            <pc:docMk/>
            <pc:sldMk cId="85576740" sldId="2147473955"/>
            <ac:spMk id="6" creationId="{96C02AC0-00C1-45CF-88C5-8E776D2788D8}"/>
          </ac:spMkLst>
        </pc:spChg>
        <pc:picChg chg="add del">
          <ac:chgData name="Sot, Urszula" userId="2a6be684-0ce0-42e4-a93c-6ee6cc224c18" providerId="ADAL" clId="{0A6D4C1C-927C-4363-ADA2-D0C311F1078F}" dt="2022-12-07T18:40:41.868" v="4043" actId="21"/>
          <ac:picMkLst>
            <pc:docMk/>
            <pc:sldMk cId="85576740" sldId="2147473955"/>
            <ac:picMk id="5" creationId="{36358930-46DA-4F44-9796-A05073A98F7E}"/>
          </ac:picMkLst>
        </pc:picChg>
      </pc:sldChg>
      <pc:sldChg chg="del">
        <pc:chgData name="Sot, Urszula" userId="2a6be684-0ce0-42e4-a93c-6ee6cc224c18" providerId="ADAL" clId="{0A6D4C1C-927C-4363-ADA2-D0C311F1078F}" dt="2022-12-02T11:53:29.451" v="195" actId="2696"/>
        <pc:sldMkLst>
          <pc:docMk/>
          <pc:sldMk cId="228448530" sldId="2147473955"/>
        </pc:sldMkLst>
      </pc:sldChg>
      <pc:sldChg chg="del">
        <pc:chgData name="Sot, Urszula" userId="2a6be684-0ce0-42e4-a93c-6ee6cc224c18" providerId="ADAL" clId="{0A6D4C1C-927C-4363-ADA2-D0C311F1078F}" dt="2022-12-02T11:53:31.160" v="197" actId="2696"/>
        <pc:sldMkLst>
          <pc:docMk/>
          <pc:sldMk cId="1099379802" sldId="2147473956"/>
        </pc:sldMkLst>
      </pc:sldChg>
      <pc:sldChg chg="addSp delSp modSp new del mod">
        <pc:chgData name="Sot, Urszula" userId="2a6be684-0ce0-42e4-a93c-6ee6cc224c18" providerId="ADAL" clId="{0A6D4C1C-927C-4363-ADA2-D0C311F1078F}" dt="2022-12-07T18:58:14.569" v="4254" actId="2696"/>
        <pc:sldMkLst>
          <pc:docMk/>
          <pc:sldMk cId="2608519106" sldId="2147473956"/>
        </pc:sldMkLst>
        <pc:spChg chg="mod">
          <ac:chgData name="Sot, Urszula" userId="2a6be684-0ce0-42e4-a93c-6ee6cc224c18" providerId="ADAL" clId="{0A6D4C1C-927C-4363-ADA2-D0C311F1078F}" dt="2022-12-07T18:54:58.855" v="4241" actId="313"/>
          <ac:spMkLst>
            <pc:docMk/>
            <pc:sldMk cId="2608519106" sldId="2147473956"/>
            <ac:spMk id="2" creationId="{523D4593-D7B0-4A99-99B7-C0370FE1C5B3}"/>
          </ac:spMkLst>
        </pc:spChg>
        <pc:picChg chg="add del">
          <ac:chgData name="Sot, Urszula" userId="2a6be684-0ce0-42e4-a93c-6ee6cc224c18" providerId="ADAL" clId="{0A6D4C1C-927C-4363-ADA2-D0C311F1078F}" dt="2022-12-07T18:54:03.198" v="4237" actId="21"/>
          <ac:picMkLst>
            <pc:docMk/>
            <pc:sldMk cId="2608519106" sldId="2147473956"/>
            <ac:picMk id="4" creationId="{0F8CAC7E-026A-4995-93CE-68FE7E01D1CB}"/>
          </ac:picMkLst>
        </pc:picChg>
      </pc:sldChg>
      <pc:sldChg chg="del">
        <pc:chgData name="Sot, Urszula" userId="2a6be684-0ce0-42e4-a93c-6ee6cc224c18" providerId="ADAL" clId="{0A6D4C1C-927C-4363-ADA2-D0C311F1078F}" dt="2022-12-02T11:53:32.022" v="198" actId="2696"/>
        <pc:sldMkLst>
          <pc:docMk/>
          <pc:sldMk cId="767453982" sldId="2147473957"/>
        </pc:sldMkLst>
      </pc:sldChg>
      <pc:sldChg chg="addSp delSp new del">
        <pc:chgData name="Sot, Urszula" userId="2a6be684-0ce0-42e4-a93c-6ee6cc224c18" providerId="ADAL" clId="{0A6D4C1C-927C-4363-ADA2-D0C311F1078F}" dt="2022-12-07T11:39:08.778" v="2017" actId="2696"/>
        <pc:sldMkLst>
          <pc:docMk/>
          <pc:sldMk cId="2055468690" sldId="2147473957"/>
        </pc:sldMkLst>
        <pc:picChg chg="add del">
          <ac:chgData name="Sot, Urszula" userId="2a6be684-0ce0-42e4-a93c-6ee6cc224c18" providerId="ADAL" clId="{0A6D4C1C-927C-4363-ADA2-D0C311F1078F}" dt="2022-12-07T10:10:56.505" v="1915"/>
          <ac:picMkLst>
            <pc:docMk/>
            <pc:sldMk cId="2055468690" sldId="2147473957"/>
            <ac:picMk id="3" creationId="{CB8FF858-414B-427B-8501-D4240FE177CA}"/>
          </ac:picMkLst>
        </pc:picChg>
      </pc:sldChg>
      <pc:sldChg chg="del">
        <pc:chgData name="Sot, Urszula" userId="2a6be684-0ce0-42e4-a93c-6ee6cc224c18" providerId="ADAL" clId="{0A6D4C1C-927C-4363-ADA2-D0C311F1078F}" dt="2022-12-07T10:49:31.953" v="1965"/>
        <pc:sldMkLst>
          <pc:docMk/>
          <pc:sldMk cId="0" sldId="2147473958"/>
        </pc:sldMkLst>
      </pc:sldChg>
      <pc:sldChg chg="del">
        <pc:chgData name="Sot, Urszula" userId="2a6be684-0ce0-42e4-a93c-6ee6cc224c18" providerId="ADAL" clId="{0A6D4C1C-927C-4363-ADA2-D0C311F1078F}" dt="2022-12-02T11:53:30.341" v="196" actId="2696"/>
        <pc:sldMkLst>
          <pc:docMk/>
          <pc:sldMk cId="3247986296" sldId="2147473958"/>
        </pc:sldMkLst>
      </pc:sldChg>
      <pc:sldChg chg="modSp del mod">
        <pc:chgData name="Sot, Urszula" userId="2a6be684-0ce0-42e4-a93c-6ee6cc224c18" providerId="ADAL" clId="{0A6D4C1C-927C-4363-ADA2-D0C311F1078F}" dt="2022-12-07T15:37:28.365" v="3802" actId="2696"/>
        <pc:sldMkLst>
          <pc:docMk/>
          <pc:sldMk cId="721232203" sldId="2147474226"/>
        </pc:sldMkLst>
        <pc:spChg chg="mod">
          <ac:chgData name="Sot, Urszula" userId="2a6be684-0ce0-42e4-a93c-6ee6cc224c18" providerId="ADAL" clId="{0A6D4C1C-927C-4363-ADA2-D0C311F1078F}" dt="2022-12-07T15:32:59.430" v="3736" actId="20577"/>
          <ac:spMkLst>
            <pc:docMk/>
            <pc:sldMk cId="721232203" sldId="2147474226"/>
            <ac:spMk id="8" creationId="{D4AC3C76-51AB-451C-8C39-917A871758A1}"/>
          </ac:spMkLst>
        </pc:spChg>
      </pc:sldChg>
      <pc:sldChg chg="addSp modSp mod">
        <pc:chgData name="Sot, Urszula" userId="2a6be684-0ce0-42e4-a93c-6ee6cc224c18" providerId="ADAL" clId="{0A6D4C1C-927C-4363-ADA2-D0C311F1078F}" dt="2022-12-07T19:21:41.191" v="4561"/>
        <pc:sldMkLst>
          <pc:docMk/>
          <pc:sldMk cId="4134514771" sldId="2147474227"/>
        </pc:sldMkLst>
        <pc:spChg chg="mod">
          <ac:chgData name="Sot, Urszula" userId="2a6be684-0ce0-42e4-a93c-6ee6cc224c18" providerId="ADAL" clId="{0A6D4C1C-927C-4363-ADA2-D0C311F1078F}" dt="2022-12-07T15:39:05.111" v="3832" actId="1076"/>
          <ac:spMkLst>
            <pc:docMk/>
            <pc:sldMk cId="4134514771" sldId="2147474227"/>
            <ac:spMk id="4" creationId="{ADC68EC7-D7AD-4610-B2DF-33A3F090D7D0}"/>
          </ac:spMkLst>
        </pc:spChg>
        <pc:spChg chg="mod">
          <ac:chgData name="Sot, Urszula" userId="2a6be684-0ce0-42e4-a93c-6ee6cc224c18" providerId="ADAL" clId="{0A6D4C1C-927C-4363-ADA2-D0C311F1078F}" dt="2022-12-07T15:38:15.665" v="3819" actId="20577"/>
          <ac:spMkLst>
            <pc:docMk/>
            <pc:sldMk cId="4134514771" sldId="2147474227"/>
            <ac:spMk id="20" creationId="{46807FE7-368F-4719-B97D-05181AB4EFE5}"/>
          </ac:spMkLst>
        </pc:spChg>
        <pc:spChg chg="mod">
          <ac:chgData name="Sot, Urszula" userId="2a6be684-0ce0-42e4-a93c-6ee6cc224c18" providerId="ADAL" clId="{0A6D4C1C-927C-4363-ADA2-D0C311F1078F}" dt="2022-12-07T15:39:22.600" v="3835" actId="12"/>
          <ac:spMkLst>
            <pc:docMk/>
            <pc:sldMk cId="4134514771" sldId="2147474227"/>
            <ac:spMk id="21" creationId="{88E74249-BED0-4D44-9934-63BDFC7E379A}"/>
          </ac:spMkLst>
        </pc:spChg>
        <pc:spChg chg="mod">
          <ac:chgData name="Sot, Urszula" userId="2a6be684-0ce0-42e4-a93c-6ee6cc224c18" providerId="ADAL" clId="{0A6D4C1C-927C-4363-ADA2-D0C311F1078F}" dt="2022-12-07T19:21:41.191" v="4561"/>
          <ac:spMkLst>
            <pc:docMk/>
            <pc:sldMk cId="4134514771" sldId="2147474227"/>
            <ac:spMk id="24" creationId="{049CED64-97B2-4FD0-8514-F164845CA090}"/>
          </ac:spMkLst>
        </pc:spChg>
        <pc:spChg chg="mod">
          <ac:chgData name="Sot, Urszula" userId="2a6be684-0ce0-42e4-a93c-6ee6cc224c18" providerId="ADAL" clId="{0A6D4C1C-927C-4363-ADA2-D0C311F1078F}" dt="2022-12-07T19:21:41.191" v="4561"/>
          <ac:spMkLst>
            <pc:docMk/>
            <pc:sldMk cId="4134514771" sldId="2147474227"/>
            <ac:spMk id="25" creationId="{CEEAAB99-C937-43DA-8580-1411576895D7}"/>
          </ac:spMkLst>
        </pc:spChg>
        <pc:spChg chg="mod">
          <ac:chgData name="Sot, Urszula" userId="2a6be684-0ce0-42e4-a93c-6ee6cc224c18" providerId="ADAL" clId="{0A6D4C1C-927C-4363-ADA2-D0C311F1078F}" dt="2022-12-07T19:21:41.191" v="4561"/>
          <ac:spMkLst>
            <pc:docMk/>
            <pc:sldMk cId="4134514771" sldId="2147474227"/>
            <ac:spMk id="26" creationId="{831D07A9-6D1D-4E0A-857E-B9F925931C88}"/>
          </ac:spMkLst>
        </pc:spChg>
        <pc:spChg chg="mod">
          <ac:chgData name="Sot, Urszula" userId="2a6be684-0ce0-42e4-a93c-6ee6cc224c18" providerId="ADAL" clId="{0A6D4C1C-927C-4363-ADA2-D0C311F1078F}" dt="2022-12-07T19:21:41.191" v="4561"/>
          <ac:spMkLst>
            <pc:docMk/>
            <pc:sldMk cId="4134514771" sldId="2147474227"/>
            <ac:spMk id="27" creationId="{B647AF6A-64D9-4EC8-B24F-BCE393E0AFBD}"/>
          </ac:spMkLst>
        </pc:spChg>
        <pc:spChg chg="mod">
          <ac:chgData name="Sot, Urszula" userId="2a6be684-0ce0-42e4-a93c-6ee6cc224c18" providerId="ADAL" clId="{0A6D4C1C-927C-4363-ADA2-D0C311F1078F}" dt="2022-12-07T19:21:41.191" v="4561"/>
          <ac:spMkLst>
            <pc:docMk/>
            <pc:sldMk cId="4134514771" sldId="2147474227"/>
            <ac:spMk id="28" creationId="{F75FE1CB-9AEF-4187-8E01-D84413BCCFA8}"/>
          </ac:spMkLst>
        </pc:spChg>
        <pc:grpChg chg="add mod">
          <ac:chgData name="Sot, Urszula" userId="2a6be684-0ce0-42e4-a93c-6ee6cc224c18" providerId="ADAL" clId="{0A6D4C1C-927C-4363-ADA2-D0C311F1078F}" dt="2022-12-07T19:21:41.191" v="4561"/>
          <ac:grpSpMkLst>
            <pc:docMk/>
            <pc:sldMk cId="4134514771" sldId="2147474227"/>
            <ac:grpSpMk id="23" creationId="{C4AEEEB4-C7DC-4925-90DD-A4C363558FC8}"/>
          </ac:grpSpMkLst>
        </pc:grpChg>
        <pc:picChg chg="mod">
          <ac:chgData name="Sot, Urszula" userId="2a6be684-0ce0-42e4-a93c-6ee6cc224c18" providerId="ADAL" clId="{0A6D4C1C-927C-4363-ADA2-D0C311F1078F}" dt="2022-12-07T15:39:07.493" v="3833" actId="1076"/>
          <ac:picMkLst>
            <pc:docMk/>
            <pc:sldMk cId="4134514771" sldId="2147474227"/>
            <ac:picMk id="22" creationId="{67E6B81B-2444-4E76-99F3-B80E66617570}"/>
          </ac:picMkLst>
        </pc:picChg>
      </pc:sldChg>
      <pc:sldChg chg="addSp delSp modSp new mod">
        <pc:chgData name="Sot, Urszula" userId="2a6be684-0ce0-42e4-a93c-6ee6cc224c18" providerId="ADAL" clId="{0A6D4C1C-927C-4363-ADA2-D0C311F1078F}" dt="2022-12-07T19:08:39.130" v="4422" actId="20577"/>
        <pc:sldMkLst>
          <pc:docMk/>
          <pc:sldMk cId="1119545111" sldId="2147474229"/>
        </pc:sldMkLst>
        <pc:spChg chg="del">
          <ac:chgData name="Sot, Urszula" userId="2a6be684-0ce0-42e4-a93c-6ee6cc224c18" providerId="ADAL" clId="{0A6D4C1C-927C-4363-ADA2-D0C311F1078F}" dt="2022-12-07T18:55:27.568" v="4245" actId="21"/>
          <ac:spMkLst>
            <pc:docMk/>
            <pc:sldMk cId="1119545111" sldId="2147474229"/>
            <ac:spMk id="2" creationId="{651B2798-FF70-45C2-81AD-B2FD63E2A8D0}"/>
          </ac:spMkLst>
        </pc:spChg>
        <pc:spChg chg="add mod">
          <ac:chgData name="Sot, Urszula" userId="2a6be684-0ce0-42e4-a93c-6ee6cc224c18" providerId="ADAL" clId="{0A6D4C1C-927C-4363-ADA2-D0C311F1078F}" dt="2022-12-07T19:07:17.870" v="4409" actId="20577"/>
          <ac:spMkLst>
            <pc:docMk/>
            <pc:sldMk cId="1119545111" sldId="2147474229"/>
            <ac:spMk id="4" creationId="{B50FB8B7-87C2-4228-8103-60234DCF067B}"/>
          </ac:spMkLst>
        </pc:spChg>
        <pc:spChg chg="add mod">
          <ac:chgData name="Sot, Urszula" userId="2a6be684-0ce0-42e4-a93c-6ee6cc224c18" providerId="ADAL" clId="{0A6D4C1C-927C-4363-ADA2-D0C311F1078F}" dt="2022-12-07T19:08:39.130" v="4422" actId="20577"/>
          <ac:spMkLst>
            <pc:docMk/>
            <pc:sldMk cId="1119545111" sldId="2147474229"/>
            <ac:spMk id="6" creationId="{6B532993-D4DA-433F-8F94-ED8127B28284}"/>
          </ac:spMkLst>
        </pc:spChg>
      </pc:sldChg>
      <pc:sldChg chg="addSp delSp modSp new add del mod">
        <pc:chgData name="Sot, Urszula" userId="2a6be684-0ce0-42e4-a93c-6ee6cc224c18" providerId="ADAL" clId="{0A6D4C1C-927C-4363-ADA2-D0C311F1078F}" dt="2022-12-08T09:10:57.521" v="5322" actId="207"/>
        <pc:sldMkLst>
          <pc:docMk/>
          <pc:sldMk cId="1805434819" sldId="2147474230"/>
        </pc:sldMkLst>
        <pc:spChg chg="del">
          <ac:chgData name="Sot, Urszula" userId="2a6be684-0ce0-42e4-a93c-6ee6cc224c18" providerId="ADAL" clId="{0A6D4C1C-927C-4363-ADA2-D0C311F1078F}" dt="2022-12-08T08:59:29.835" v="5287" actId="21"/>
          <ac:spMkLst>
            <pc:docMk/>
            <pc:sldMk cId="1805434819" sldId="2147474230"/>
            <ac:spMk id="2" creationId="{65893A13-D8CF-4B72-A2A5-6108B250B810}"/>
          </ac:spMkLst>
        </pc:spChg>
        <pc:spChg chg="add mod">
          <ac:chgData name="Sot, Urszula" userId="2a6be684-0ce0-42e4-a93c-6ee6cc224c18" providerId="ADAL" clId="{0A6D4C1C-927C-4363-ADA2-D0C311F1078F}" dt="2022-12-08T08:59:36.768" v="5288" actId="1076"/>
          <ac:spMkLst>
            <pc:docMk/>
            <pc:sldMk cId="1805434819" sldId="2147474230"/>
            <ac:spMk id="3" creationId="{18C940D2-6EF5-4793-9802-E02A6017182D}"/>
          </ac:spMkLst>
        </pc:spChg>
        <pc:spChg chg="add mod">
          <ac:chgData name="Sot, Urszula" userId="2a6be684-0ce0-42e4-a93c-6ee6cc224c18" providerId="ADAL" clId="{0A6D4C1C-927C-4363-ADA2-D0C311F1078F}" dt="2022-12-08T09:00:22.384" v="5295" actId="1076"/>
          <ac:spMkLst>
            <pc:docMk/>
            <pc:sldMk cId="1805434819" sldId="2147474230"/>
            <ac:spMk id="4" creationId="{44A73A85-D8CD-4691-85E6-8C291DE47958}"/>
          </ac:spMkLst>
        </pc:spChg>
        <pc:spChg chg="add mod">
          <ac:chgData name="Sot, Urszula" userId="2a6be684-0ce0-42e4-a93c-6ee6cc224c18" providerId="ADAL" clId="{0A6D4C1C-927C-4363-ADA2-D0C311F1078F}" dt="2022-12-08T09:10:57.521" v="5322" actId="207"/>
          <ac:spMkLst>
            <pc:docMk/>
            <pc:sldMk cId="1805434819" sldId="2147474230"/>
            <ac:spMk id="5" creationId="{A212FE28-6632-4B61-AB4A-55FC654C5E70}"/>
          </ac:spMkLst>
        </pc:spChg>
      </pc:sldChg>
      <pc:sldChg chg="del">
        <pc:chgData name="Sot, Urszula" userId="2a6be684-0ce0-42e4-a93c-6ee6cc224c18" providerId="ADAL" clId="{0A6D4C1C-927C-4363-ADA2-D0C311F1078F}" dt="2022-12-08T08:59:14.571" v="5285"/>
        <pc:sldMkLst>
          <pc:docMk/>
          <pc:sldMk cId="2932263302" sldId="2147474231"/>
        </pc:sldMkLst>
      </pc:sldChg>
      <pc:sldMasterChg chg="delSldLayout">
        <pc:chgData name="Sot, Urszula" userId="2a6be684-0ce0-42e4-a93c-6ee6cc224c18" providerId="ADAL" clId="{0A6D4C1C-927C-4363-ADA2-D0C311F1078F}" dt="2022-12-07T15:37:28.365" v="3802" actId="2696"/>
        <pc:sldMasterMkLst>
          <pc:docMk/>
          <pc:sldMasterMk cId="1619775245" sldId="2147483672"/>
        </pc:sldMasterMkLst>
        <pc:sldLayoutChg chg="del">
          <pc:chgData name="Sot, Urszula" userId="2a6be684-0ce0-42e4-a93c-6ee6cc224c18" providerId="ADAL" clId="{0A6D4C1C-927C-4363-ADA2-D0C311F1078F}" dt="2022-12-02T11:48:48.987" v="155" actId="2696"/>
          <pc:sldLayoutMkLst>
            <pc:docMk/>
            <pc:sldMasterMk cId="1619775245" sldId="2147483672"/>
            <pc:sldLayoutMk cId="2518475930" sldId="2147483685"/>
          </pc:sldLayoutMkLst>
        </pc:sldLayoutChg>
        <pc:sldLayoutChg chg="del">
          <pc:chgData name="Sot, Urszula" userId="2a6be684-0ce0-42e4-a93c-6ee6cc224c18" providerId="ADAL" clId="{0A6D4C1C-927C-4363-ADA2-D0C311F1078F}" dt="2022-12-02T11:48:56.587" v="156" actId="18676"/>
          <pc:sldLayoutMkLst>
            <pc:docMk/>
            <pc:sldMasterMk cId="1619775245" sldId="2147483672"/>
            <pc:sldLayoutMk cId="4144618111" sldId="2147483689"/>
          </pc:sldLayoutMkLst>
        </pc:sldLayoutChg>
        <pc:sldLayoutChg chg="del">
          <pc:chgData name="Sot, Urszula" userId="2a6be684-0ce0-42e4-a93c-6ee6cc224c18" providerId="ADAL" clId="{0A6D4C1C-927C-4363-ADA2-D0C311F1078F}" dt="2022-12-02T11:48:56.587" v="156" actId="18676"/>
          <pc:sldLayoutMkLst>
            <pc:docMk/>
            <pc:sldMasterMk cId="1619775245" sldId="2147483672"/>
            <pc:sldLayoutMk cId="2251529699" sldId="2147483719"/>
          </pc:sldLayoutMkLst>
        </pc:sldLayoutChg>
        <pc:sldLayoutChg chg="del">
          <pc:chgData name="Sot, Urszula" userId="2a6be684-0ce0-42e4-a93c-6ee6cc224c18" providerId="ADAL" clId="{0A6D4C1C-927C-4363-ADA2-D0C311F1078F}" dt="2022-12-02T11:52:14.443" v="172" actId="2696"/>
          <pc:sldLayoutMkLst>
            <pc:docMk/>
            <pc:sldMasterMk cId="1619775245" sldId="2147483672"/>
            <pc:sldLayoutMk cId="3761429454" sldId="2147483723"/>
          </pc:sldLayoutMkLst>
        </pc:sldLayoutChg>
        <pc:sldLayoutChg chg="del">
          <pc:chgData name="Sot, Urszula" userId="2a6be684-0ce0-42e4-a93c-6ee6cc224c18" providerId="ADAL" clId="{0A6D4C1C-927C-4363-ADA2-D0C311F1078F}" dt="2022-12-02T11:49:17.199" v="161" actId="2696"/>
          <pc:sldLayoutMkLst>
            <pc:docMk/>
            <pc:sldMasterMk cId="1619775245" sldId="2147483672"/>
            <pc:sldLayoutMk cId="537221829" sldId="2147483724"/>
          </pc:sldLayoutMkLst>
        </pc:sldLayoutChg>
        <pc:sldLayoutChg chg="del">
          <pc:chgData name="Sot, Urszula" userId="2a6be684-0ce0-42e4-a93c-6ee6cc224c18" providerId="ADAL" clId="{0A6D4C1C-927C-4363-ADA2-D0C311F1078F}" dt="2022-12-02T11:52:05.464" v="170" actId="2696"/>
          <pc:sldLayoutMkLst>
            <pc:docMk/>
            <pc:sldMasterMk cId="1619775245" sldId="2147483672"/>
            <pc:sldLayoutMk cId="4288149073" sldId="2147483725"/>
          </pc:sldLayoutMkLst>
        </pc:sldLayoutChg>
        <pc:sldLayoutChg chg="del">
          <pc:chgData name="Sot, Urszula" userId="2a6be684-0ce0-42e4-a93c-6ee6cc224c18" providerId="ADAL" clId="{0A6D4C1C-927C-4363-ADA2-D0C311F1078F}" dt="2022-12-07T13:35:04.414" v="2470" actId="2696"/>
          <pc:sldLayoutMkLst>
            <pc:docMk/>
            <pc:sldMasterMk cId="1619775245" sldId="2147483672"/>
            <pc:sldLayoutMk cId="2740035116" sldId="2147483728"/>
          </pc:sldLayoutMkLst>
        </pc:sldLayoutChg>
        <pc:sldLayoutChg chg="del">
          <pc:chgData name="Sot, Urszula" userId="2a6be684-0ce0-42e4-a93c-6ee6cc224c18" providerId="ADAL" clId="{0A6D4C1C-927C-4363-ADA2-D0C311F1078F}" dt="2022-12-02T11:57:45.871" v="205" actId="18676"/>
          <pc:sldLayoutMkLst>
            <pc:docMk/>
            <pc:sldMasterMk cId="1619775245" sldId="2147483672"/>
            <pc:sldLayoutMk cId="3415254116" sldId="2147483745"/>
          </pc:sldLayoutMkLst>
        </pc:sldLayoutChg>
        <pc:sldLayoutChg chg="del">
          <pc:chgData name="Sot, Urszula" userId="2a6be684-0ce0-42e4-a93c-6ee6cc224c18" providerId="ADAL" clId="{0A6D4C1C-927C-4363-ADA2-D0C311F1078F}" dt="2022-12-07T15:37:28.365" v="3802" actId="2696"/>
          <pc:sldLayoutMkLst>
            <pc:docMk/>
            <pc:sldMasterMk cId="1619775245" sldId="2147483672"/>
            <pc:sldLayoutMk cId="4048269532" sldId="2147483745"/>
          </pc:sldLayoutMkLst>
        </pc:sldLayoutChg>
      </pc:sldMasterChg>
    </pc:docChg>
  </pc:docChgLst>
  <pc:docChgLst>
    <pc:chgData name="Sot, Urszula" userId="2a6be684-0ce0-42e4-a93c-6ee6cc224c18" providerId="ADAL" clId="{4B5D8FA7-83FA-4740-A7DB-176450134CE6}"/>
    <pc:docChg chg="modSld">
      <pc:chgData name="Sot, Urszula" userId="2a6be684-0ce0-42e4-a93c-6ee6cc224c18" providerId="ADAL" clId="{4B5D8FA7-83FA-4740-A7DB-176450134CE6}" dt="2022-12-08T19:02:31.065" v="5" actId="113"/>
      <pc:docMkLst>
        <pc:docMk/>
      </pc:docMkLst>
      <pc:sldChg chg="modSp mod">
        <pc:chgData name="Sot, Urszula" userId="2a6be684-0ce0-42e4-a93c-6ee6cc224c18" providerId="ADAL" clId="{4B5D8FA7-83FA-4740-A7DB-176450134CE6}" dt="2022-12-08T19:01:32.103" v="0" actId="1076"/>
        <pc:sldMkLst>
          <pc:docMk/>
          <pc:sldMk cId="4132059087" sldId="2147470416"/>
        </pc:sldMkLst>
        <pc:spChg chg="mod">
          <ac:chgData name="Sot, Urszula" userId="2a6be684-0ce0-42e4-a93c-6ee6cc224c18" providerId="ADAL" clId="{4B5D8FA7-83FA-4740-A7DB-176450134CE6}" dt="2022-12-08T19:01:32.103" v="0" actId="1076"/>
          <ac:spMkLst>
            <pc:docMk/>
            <pc:sldMk cId="4132059087" sldId="2147470416"/>
            <ac:spMk id="5" creationId="{80904930-08C1-42A4-BC15-75CAB58D91D9}"/>
          </ac:spMkLst>
        </pc:spChg>
      </pc:sldChg>
      <pc:sldChg chg="modSp mod">
        <pc:chgData name="Sot, Urszula" userId="2a6be684-0ce0-42e4-a93c-6ee6cc224c18" providerId="ADAL" clId="{4B5D8FA7-83FA-4740-A7DB-176450134CE6}" dt="2022-12-08T19:02:31.065" v="5" actId="113"/>
        <pc:sldMkLst>
          <pc:docMk/>
          <pc:sldMk cId="2620984444" sldId="2147470419"/>
        </pc:sldMkLst>
        <pc:spChg chg="mod">
          <ac:chgData name="Sot, Urszula" userId="2a6be684-0ce0-42e4-a93c-6ee6cc224c18" providerId="ADAL" clId="{4B5D8FA7-83FA-4740-A7DB-176450134CE6}" dt="2022-12-08T19:02:01.226" v="1" actId="113"/>
          <ac:spMkLst>
            <pc:docMk/>
            <pc:sldMk cId="2620984444" sldId="2147470419"/>
            <ac:spMk id="77" creationId="{D50A759C-FF74-334F-B218-6DA89F6A55C4}"/>
          </ac:spMkLst>
        </pc:spChg>
        <pc:spChg chg="mod">
          <ac:chgData name="Sot, Urszula" userId="2a6be684-0ce0-42e4-a93c-6ee6cc224c18" providerId="ADAL" clId="{4B5D8FA7-83FA-4740-A7DB-176450134CE6}" dt="2022-12-08T19:02:31.065" v="5" actId="113"/>
          <ac:spMkLst>
            <pc:docMk/>
            <pc:sldMk cId="2620984444" sldId="2147470419"/>
            <ac:spMk id="78" creationId="{B0A1AC11-87D8-1A4D-8EC9-CB800462364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858915C-3565-B747-9074-CDE02E83BF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953E0C-16D0-6847-98B6-6FC1EA8BFF2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8B6F71-808D-EF40-89A9-D07CD9233903}" type="datetimeFigureOut">
              <a:rPr lang="en-US" smtClean="0"/>
              <a:t>12/8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4BF8D6-7954-F142-BDB9-FBE0676720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2BF7A1-765A-D54F-8FB5-8E58176F8D6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F55E68-5B89-AE4E-AFED-D7DB136B94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0528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5A2D86-3156-B549-A451-BE3FCCE43C50}" type="datetimeFigureOut">
              <a:rPr lang="en-US" smtClean="0"/>
              <a:t>12/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15793E-A4D2-2C4D-8434-45630CBC475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7898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69EB3C-3949-4D1D-AC9E-D84E359DBD7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453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720B4-DF8E-0346-839F-EBE9BD4B0D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C7B55BF-B4CA-4FE9-B54F-8F082ECACA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447675"/>
            <a:ext cx="5486400" cy="30861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A91969F-6475-48CA-95E0-9EC54EDC4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954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720B4-DF8E-0346-839F-EBE9BD4B0D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C7B55BF-B4CA-4FE9-B54F-8F082ECACA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447675"/>
            <a:ext cx="5486400" cy="30861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A91969F-6475-48CA-95E0-9EC54EDC4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9959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720B4-DF8E-0346-839F-EBE9BD4B0D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C7B55BF-B4CA-4FE9-B54F-8F082ECACA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447675"/>
            <a:ext cx="5486400" cy="30861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A91969F-6475-48CA-95E0-9EC54EDC4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4444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720B4-DF8E-0346-839F-EBE9BD4B0D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C7B55BF-B4CA-4FE9-B54F-8F082ECACA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447675"/>
            <a:ext cx="5486400" cy="30861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A91969F-6475-48CA-95E0-9EC54EDC4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5552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0ED720B4-DF8E-0346-839F-EBE9BD4B0DD0}" type="slidenum">
              <a:rPr lang="en-US" noProof="0" smtClean="0"/>
              <a:pPr lvl="0"/>
              <a:t>19</a:t>
            </a:fld>
            <a:endParaRPr lang="en-US" noProof="0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507FB4C-B2BB-47F8-8EC5-FA146D1070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77875" y="469900"/>
            <a:ext cx="5759450" cy="3240088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EB4FFEEF-4ED8-4797-BF33-F494303EFB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8175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0ED720B4-DF8E-0346-839F-EBE9BD4B0DD0}" type="slidenum">
              <a:rPr lang="en-US" noProof="0" smtClean="0"/>
              <a:pPr lvl="0"/>
              <a:t>20</a:t>
            </a:fld>
            <a:endParaRPr lang="en-US" noProof="0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507FB4C-B2BB-47F8-8EC5-FA146D1070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77875" y="469900"/>
            <a:ext cx="5759450" cy="3240088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EB4FFEEF-4ED8-4797-BF33-F494303EFB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3790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15793E-A4D2-2C4D-8434-45630CBC4752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215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15793E-A4D2-2C4D-8434-45630CBC4752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1070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5793E-A4D2-2C4D-8434-45630CBC4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33554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69EB3C-3949-4D1D-AC9E-D84E359DBD79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5651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846138"/>
            <a:ext cx="5759450" cy="32400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88DB55-5A66-44BB-87FD-454E8BAAAE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9810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15793E-A4D2-2C4D-8434-45630CBC475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722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69EB3C-3949-4D1D-AC9E-D84E359DBD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2324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720B4-DF8E-0346-839F-EBE9BD4B0D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C7B55BF-B4CA-4FE9-B54F-8F082ECACA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447675"/>
            <a:ext cx="5486400" cy="30861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A91969F-6475-48CA-95E0-9EC54EDC4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2167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lvl="0"/>
            <a:fld id="{0ED720B4-DF8E-0346-839F-EBE9BD4B0DD0}" type="slidenum">
              <a:rPr lang="en-US" noProof="0" smtClean="0"/>
              <a:pPr lvl="0"/>
              <a:t>11</a:t>
            </a:fld>
            <a:endParaRPr lang="en-US" noProof="0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507FB4C-B2BB-47F8-8EC5-FA146D1070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77875" y="469900"/>
            <a:ext cx="5759450" cy="3240088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EB4FFEEF-4ED8-4797-BF33-F494303EFB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039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720B4-DF8E-0346-839F-EBE9BD4B0D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C7B55BF-B4CA-4FE9-B54F-8F082ECACA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447675"/>
            <a:ext cx="5486400" cy="30861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A91969F-6475-48CA-95E0-9EC54EDC4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8979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720B4-DF8E-0346-839F-EBE9BD4B0D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C7B55BF-B4CA-4FE9-B54F-8F082ECACA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447675"/>
            <a:ext cx="5486400" cy="30861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A91969F-6475-48CA-95E0-9EC54EDC4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3597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D720B4-DF8E-0346-839F-EBE9BD4B0D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3C7B55BF-B4CA-4FE9-B54F-8F082ECACA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447675"/>
            <a:ext cx="5486400" cy="30861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AA91969F-6475-48CA-95E0-9EC54EDC447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232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D8354-A959-BC48-AA9B-A438DA6AF5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7646" y="1471156"/>
            <a:ext cx="6438508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2E0E22-B5E5-0A45-B538-870260E9F5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7646" y="3950831"/>
            <a:ext cx="6438508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D142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6E494C5A-66C4-554D-9317-18A03F7A41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128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2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F7C2E-71BD-A848-98F5-35747B7BF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3EA6C0-7E0A-BF42-8388-0B2F501934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E21D6F-19CD-7841-9446-E9C6DEC2257B}"/>
              </a:ext>
            </a:extLst>
          </p:cNvPr>
          <p:cNvSpPr/>
          <p:nvPr userDrawn="1"/>
        </p:nvSpPr>
        <p:spPr>
          <a:xfrm>
            <a:off x="3074442" y="6315726"/>
            <a:ext cx="6579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TRICTLY CONFIDENTIAL. The slides and information discussed during the presentation constitutes confidential information and business secrets of BioNTech and Pfizer and </a:t>
            </a:r>
          </a:p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hall not be disclosed to third parties. Please see slide 2 for additional information related to the content and limitations of this presentation. DO NOT SHARE WITH THIRD PARTIES.</a:t>
            </a:r>
          </a:p>
        </p:txBody>
      </p:sp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9174B2B7-5ECE-A24D-A806-7EC8FB53A6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pic>
        <p:nvPicPr>
          <p:cNvPr id="11" name="Picture 10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8EFC5FED-D0A7-FE41-8572-8859A7E681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355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F9A5E5-97FF-F244-BAC9-8456807B6C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999AEA-5E31-BE4F-A23F-0306DE6BA0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2B1E5D0-A6BF-844D-995E-1523CB27A0A7}"/>
              </a:ext>
            </a:extLst>
          </p:cNvPr>
          <p:cNvSpPr/>
          <p:nvPr userDrawn="1"/>
        </p:nvSpPr>
        <p:spPr>
          <a:xfrm>
            <a:off x="3074442" y="6315726"/>
            <a:ext cx="6579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TRICTLY CONFIDENTIAL. The slides and information discussed during the presentation constitutes confidential information and business secrets of BioNTech and Pfizer and </a:t>
            </a:r>
          </a:p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hall not be disclosed to third parties. Please see slide 2 for additional information related to the content and limitations of this presentation. DO NOT SHARE WITH THIRD PARTIES.</a:t>
            </a:r>
          </a:p>
        </p:txBody>
      </p:sp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51EDF8FE-0BBD-3540-ACB7-35218F4C85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pic>
        <p:nvPicPr>
          <p:cNvPr id="11" name="Picture 10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B3C23C9F-C654-484A-A787-797050DFCA0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071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539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F841C9-BD1E-4CD9-BA95-E5C9EA6C15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B494A203-1B5F-6D4A-B8BD-D2D8C9E3CE1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549294E0-357A-4B49-8A89-E6392E0BA3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F09890B-1FB5-CCCB-454B-E71F2858FC7C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84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334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00C9C563-AA18-3640-A90E-2BC89122829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D8E92C86-41E5-474A-9ADD-563657DDED3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19DACF3-3905-2D20-EABF-0BAF10167BA3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79067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6055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EEEA57A8-9009-D944-A181-0D6914A798B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4E7E453F-55F2-A040-BF8E-7FB81C2AEC7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10FA27E-2C14-DA42-07D0-BB39AFA5FE81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68064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0556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3F09DD59-7603-8D45-BD44-13015BDC50D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DF6E7541-8C02-6642-80A3-2B21EB6B25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4C0642C-F998-B6A0-054F-FC1F1BDB2B99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6127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715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C596ED32-E8F1-E04C-83D6-6B157941F28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EADBC10F-CAA6-3E43-BFBB-D475A1325D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90DF0CE-E5E2-EC13-F2DC-6A88C602EA60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7062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236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CE5D291F-B079-A647-86AC-B2D47719E3A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39217B10-5C2D-B54E-8976-AC4F14F40E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AD401D7-94DE-B5CB-7FE4-B9239DFCC306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0015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579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8A9773C1-9D3D-3C45-A83C-875305B461E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207E4168-58AF-364A-9E7B-83561D20258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FB8F901-2958-1935-54F3-625DBD449EEB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5306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771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BC315A5D-01C2-D44F-9DF9-CF22FCAADD2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9B92CCD9-68E0-274A-A2E5-2FB180C1F0D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4EA69D2-2074-7E57-2CC3-F7A4276D80DE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40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20BEE8EC-87EA-D14C-98CF-1A7A6CAE03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DC5BE-E058-264A-8690-0A530BB83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964D4F-301C-7242-9E90-1A21D7A35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540" y="1783236"/>
            <a:ext cx="11265031" cy="4351338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3DC35B4-AE91-3040-A260-13D9DF663F86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4EE5183B-8470-F746-91BA-6915C06AFA1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4506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73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5A5898D4-6DEE-0E49-9747-D1F20B8F32C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074824CE-B2A0-044A-B20D-EAA024725E7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3EC60B5-4FA2-8D1D-45F6-5850CB268529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6840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544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68B3BBE3-9697-114B-B72D-4BB2227089F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DAEF4C78-E36D-6F4C-A917-527582C2902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F4056CA-DB54-288E-DD6C-C9A3F9030BAA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8821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166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A6B363BC-2A00-634E-9BC5-6BB8FBF1B06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A8FD23BF-DF98-ED48-B5D7-72669A0F439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4BC0239-E1BC-9469-B569-88F8305A23B3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94721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72042376-4993-E64D-B43C-CF3A3FF452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FAB346BC-2F1A-DB48-8CA7-1650C0B001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BA754C-065C-4142-0D56-2E329F71F7B6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4839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–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172" y="1647833"/>
            <a:ext cx="11295782" cy="39953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110368"/>
            <a:ext cx="11295782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999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199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CAB218D-F7CA-48DF-AC12-27BF4AF7B8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8184" y="5453607"/>
            <a:ext cx="11293397" cy="350412"/>
          </a:xfrm>
        </p:spPr>
        <p:txBody>
          <a:bodyPr tIns="0" bIns="0" anchor="b"/>
          <a:lstStyle>
            <a:lvl1pPr marL="228547" indent="-228547" algn="l" defTabSz="914183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83" algn="r"/>
                <a:tab pos="228547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44554ACF-716A-1745-A9A5-F615929DC4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FB2D3211-F0EA-4E49-B745-2D9BA1731F1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80DA30C-929E-E7EF-4A7F-EF03EFB78836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3762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173" y="1647826"/>
            <a:ext cx="11295783" cy="399532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3" y="1110362"/>
            <a:ext cx="11295783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917" y="129598"/>
            <a:ext cx="11294655" cy="95097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lang="en-US" sz="24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48174" y="5808616"/>
            <a:ext cx="11293397" cy="350412"/>
          </a:xfrm>
        </p:spPr>
        <p:txBody>
          <a:bodyPr tIns="0" bIns="0" anchor="b"/>
          <a:lstStyle>
            <a:lvl1pPr marL="171450" indent="-171450" algn="l" defTabSz="685800" rtl="0" eaLnBrk="1" latinLnBrk="0" hangingPunct="1">
              <a:lnSpc>
                <a:spcPct val="85000"/>
              </a:lnSpc>
              <a:spcBef>
                <a:spcPts val="15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30969" algn="r"/>
                <a:tab pos="171450" algn="l"/>
              </a:tabLst>
              <a:defRPr lang="en-US" sz="675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3EF76363-B676-894F-A9A9-D5F7F01A92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28CEFBD2-DD62-4B4C-A0DB-18C95AD1D7B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CA534EC-9F7C-EAF7-06CD-8EC1E515EB49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41157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591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E8CD968-3576-42A9-90C0-A04C8D195B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1143000"/>
            <a:ext cx="11734800" cy="4584032"/>
          </a:xfrm>
        </p:spPr>
        <p:txBody>
          <a:bodyPr/>
          <a:lstStyle>
            <a:lvl1pPr>
              <a:spcBef>
                <a:spcPts val="1800"/>
              </a:spcBef>
              <a:spcAft>
                <a:spcPts val="0"/>
              </a:spcAft>
              <a:defRPr/>
            </a:lvl1pPr>
            <a:lvl2pPr>
              <a:spcBef>
                <a:spcPts val="1000"/>
              </a:spcBef>
              <a:spcAft>
                <a:spcPts val="0"/>
              </a:spcAft>
              <a:defRPr/>
            </a:lvl2pPr>
            <a:lvl3pPr>
              <a:spcBef>
                <a:spcPts val="10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66792EB-7DB3-4209-AD4D-9A2F00C6EC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7" name="Picture 6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A40D6307-0A81-F248-89F2-8889A80A1D8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A0B99C4D-6834-8743-8CFA-D7BF89797BC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1E02F3E-B92A-D9F2-C02B-D82E243F2319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1496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0925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44BBA31F-B542-8643-91DF-0295796CC8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6C6928C9-81A7-7248-AF03-C9DBE6632D7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D2A62DF-065E-D841-7861-76C001006CF0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9621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8BF72B3-4598-8D45-9849-3F8331013AD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5658" y="362018"/>
            <a:ext cx="11297039" cy="450276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FE15DAE4-DA8B-F14E-876B-06B2CCD34E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6FDBCC19-F5BA-EE45-8D3E-3E521C8442E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71E674-1506-4DA9-110C-273891675579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85866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BFFB02B3-071B-A748-BBC4-8C264EF2C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DCFBFEB9-5987-D44C-9B1B-6A130C3B91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8D5B9D3-0353-C1B1-74E9-9BF755EF744F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8260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AED46294-E5D5-7449-96D1-6E6033BAFD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64219" y="6281773"/>
            <a:ext cx="2009192" cy="417932"/>
          </a:xfrm>
          <a:prstGeom prst="rect">
            <a:avLst/>
          </a:prstGeom>
        </p:spPr>
      </p:pic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EC964566-0492-CD40-9992-77E846EE72A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9210" y="6221238"/>
            <a:ext cx="1276761" cy="4301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C0A39A-3A78-AA47-9F43-C51891D5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340" y="1709738"/>
            <a:ext cx="6234260" cy="2004423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73DAF5-DCEE-DF4C-9E3F-F1ABAF6879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339" y="3957867"/>
            <a:ext cx="6234259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97A4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617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28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581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BD1E56D8-9585-B24C-9920-3ACE2262BF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40E917B3-10C9-DB4D-8935-1D57287134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A5CE38F-7C8A-D28C-772E-5AEB578C0650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5404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95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4B7DF478-DC5E-9843-A149-CC8AD509891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6B8161CC-9A93-2A46-B069-920738CA974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4E22D5B-E010-FE09-1B32-7ADCF73DE6CC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2328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4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352AA02C-027A-D441-ADFE-AB10091ACCB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04337FE4-5AC5-7F4C-AE1D-CD3BDC298BB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87433F7-96CB-AC19-D0DC-499E40E6E1F7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61031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189C64-451E-4A77-BA5C-B01BADB7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626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189C64-451E-4A77-BA5C-B01BADB76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7948-2BE0-44C7-A063-783F5BC9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91D6EC5-7677-450D-8DBE-BC5E9C3FC7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601" y="5967050"/>
            <a:ext cx="11225462" cy="173124"/>
          </a:xfrm>
        </p:spPr>
        <p:txBody>
          <a:bodyPr lIns="91440" tIns="27432" rIns="91440" bIns="27432" anchor="b">
            <a:spAutoFit/>
          </a:bodyPr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source</a:t>
            </a:r>
          </a:p>
        </p:txBody>
      </p:sp>
      <p:pic>
        <p:nvPicPr>
          <p:cNvPr id="6" name="Picture 5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0F7D28DE-3C6F-B343-A1C7-B654A4664B6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785C59DE-6312-2246-9F05-B42CB7ED1FA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41C183C-DC73-F47B-D0D9-DA042736A4DB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3334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4A270-EAA0-4346-8FA6-91E7DD392D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BFE367-BCFF-E842-8E15-DCDFEA55E9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38BCCD-8CA2-8A4A-9C6B-0FE89D920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9481C0-A68C-3A4E-9800-7CCC84395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4EBA02-863E-A74C-BCA2-A83D6B28F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06166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35C0E-2B09-0E4B-87E1-2139DAA10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9DF256-8B13-9340-8836-46F2177BB2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E727DB-BE4C-4F43-B531-4D2286984B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E7546B-4AA3-8040-8F18-798E5AACE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953C04-C691-A14E-A607-254F996F9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3922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BB4EA-2ACA-6C48-B87C-A002C558D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C3E71F-D708-3446-97E8-96507E4590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4CACF3-7D1F-3C43-A4F1-04A4BA9B0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5F4CC8-507F-B546-B82A-E713E4551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0FBCC5-5F0D-9942-9B92-8ACF5EEE28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44302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B6873D-C9C4-1742-827E-392EDD5F0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BBA3BE-EB0A-CC4E-81A9-530203757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FBBACA-77C6-504B-8AEB-20706124B3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E5C8D3-9C25-8E43-8560-C1CFED26F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5D0FB2-C138-9148-8C63-B48722318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D2E390-39F5-304C-A6D4-BF6120CB2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74728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AFBCF2-49BF-9B4A-BCCB-1A070EB34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F110AC-E69B-E645-9625-7CC5B04BE5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D82EA4-2AF9-F549-A318-6B57FB23B3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BAD60B-765C-A94A-B94D-0BE3FC7EF0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631776A-34E8-5A49-9049-1962C157BF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4727AD0-9DF7-7641-BAE4-C9D2FDA19F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4FFD4A-1132-FA4E-B7A4-EE80E1F93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BB07360-C02A-B447-86E7-2CCA0D1F5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1136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4F3493-967F-5C4E-8BB8-F32F4A70B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EC143F-2B3C-F145-9010-F74BB4B70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39B8D6-A94C-2A48-B539-706316252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0C5B4F-A347-154A-B208-C0772E1A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5231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24529-1577-0D48-A5C0-4221D93BE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E6210D-1ADD-6F4E-8B0D-5976E1E94E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A3DCC4-F215-AB42-A5D7-91957A0C3A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F0120E-20F7-6B49-96BE-7E3F1C6DF028}"/>
              </a:ext>
            </a:extLst>
          </p:cNvPr>
          <p:cNvSpPr/>
          <p:nvPr userDrawn="1"/>
        </p:nvSpPr>
        <p:spPr>
          <a:xfrm>
            <a:off x="3074442" y="6315726"/>
            <a:ext cx="6579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TRICTLY CONFIDENTIAL. The slides and information discussed during the presentation constitutes confidential information and business secrets of BioNTech and Pfizer and </a:t>
            </a:r>
          </a:p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hall not be disclosed to third parties. Please see slide 2 for additional information related to the content and limitations of this presentation. DO NOT SHARE WITH THIRD PARTIES.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4B23E861-3909-DB45-860C-6A99D6D97F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pic>
        <p:nvPicPr>
          <p:cNvPr id="13" name="Picture 12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F531516A-5C51-9843-81C3-D8D3F8F92CA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298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333F4B-49BF-7E49-BD48-1596F3FBC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EF7607-6085-F649-B66B-169FEA09C5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D3334F-235D-484D-92C8-024D859E2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77232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8BD60-9B76-044C-9051-B421948B4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9C40E-F9BF-E249-9529-C002A2E8E9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C47673-FE9C-8141-93A2-C0F60DD4A2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9E7CB5-72B2-D343-87F2-687C00307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737634-F3FA-2C49-B425-A1DF57225E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905462-8817-D843-81A3-306156B0A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93317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C92016-F468-E145-A903-F0DAFD6C1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93F1BF-BC6F-8240-B9D7-3ED1D4F9CE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87C2C5-F6DC-794D-AAA0-72B7F9C3AF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FC8C5A-3D6B-0943-9CE9-0306884CC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4767D-76D0-3C48-AA11-F1A19A4BD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FDAC31-4C86-1B44-9A88-CD985F5F1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33931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3B5B66-ABED-C448-8788-E8C2FAFFC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D6DF3A4-FF38-844A-8934-AF369E4CE7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9E4D5F-ED97-A74B-A57A-BAEFB0E80A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99D470-D410-4D4C-A2DC-D6FA4520C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FC195A-2C4F-5E43-A11F-50620586F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9155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1ED1E5F-EE13-1A4E-B0BB-AF6B5593F40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20F4B5-5592-874D-A255-115354CF90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0D878D-A2A8-8B48-96AF-FB9DD0C98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04976-624C-A341-843D-6064D64B2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134989-3A72-4848-9875-7A38C73CD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69CFC3-832C-F648-B6D4-330EFA1931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2306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249957-BF88-8149-A896-87EACD1C1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81125"/>
            <a:ext cx="10515600" cy="1325563"/>
          </a:xfrm>
        </p:spPr>
        <p:txBody>
          <a:bodyPr/>
          <a:lstStyle>
            <a:lvl1pPr algn="ctr">
              <a:defRPr>
                <a:solidFill>
                  <a:srgbClr val="D1423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CED687-F58E-7148-B3FB-33E7AC92C87B}"/>
              </a:ext>
            </a:extLst>
          </p:cNvPr>
          <p:cNvSpPr/>
          <p:nvPr userDrawn="1"/>
        </p:nvSpPr>
        <p:spPr>
          <a:xfrm>
            <a:off x="3074442" y="6315726"/>
            <a:ext cx="6579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TRICTLY CONFIDENTIAL. The slides and information discussed during the presentation constitutes confidential information and business secrets of BioNTech and Pfizer and </a:t>
            </a:r>
          </a:p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hall not be disclosed to third parties. Please see slide 2 for additional information related to the content and limitations of this presentation. DO NOT SHARE WITH THIRD PARTIES.</a:t>
            </a: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E862C2D6-4B43-5F44-B0E6-F7CF134CDF4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pic>
        <p:nvPicPr>
          <p:cNvPr id="10" name="Picture 9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4C0E9A3D-66CC-AB48-A5BB-15659E7763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97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28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53CD78-8E9F-9E4E-9820-574E0C227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F121BAFD-56AB-3D46-AC80-0A7DFAA19F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pic>
        <p:nvPicPr>
          <p:cNvPr id="10" name="Picture 9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746C8DE3-3F04-2340-93AC-9719C445FD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D50B232-8260-1309-2449-2E140218A2D3}"/>
              </a:ext>
            </a:extLst>
          </p:cNvPr>
          <p:cNvSpPr/>
          <p:nvPr userDrawn="1"/>
        </p:nvSpPr>
        <p:spPr>
          <a:xfrm>
            <a:off x="3074442" y="6315726"/>
            <a:ext cx="6579456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Current as of </a:t>
            </a:r>
            <a:r>
              <a:rPr lang="tr-TR" sz="700" b="0" i="0" dirty="0">
                <a:solidFill>
                  <a:srgbClr val="FF2F92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XX November </a:t>
            </a:r>
            <a:r>
              <a:rPr lang="tr-TR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2022</a:t>
            </a:r>
            <a:endParaRPr lang="en-US" sz="700" b="0" i="0" dirty="0">
              <a:solidFill>
                <a:schemeClr val="bg1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7895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81AEC85-F5D9-974B-B3C1-6373BD3878FA}"/>
              </a:ext>
            </a:extLst>
          </p:cNvPr>
          <p:cNvSpPr/>
          <p:nvPr userDrawn="1"/>
        </p:nvSpPr>
        <p:spPr>
          <a:xfrm>
            <a:off x="3074442" y="6315726"/>
            <a:ext cx="6579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TRICTLY CONFIDENTIAL. The slides and information discussed during the presentation constitutes confidential information and business secrets of BioNTech and Pfizer and </a:t>
            </a:r>
          </a:p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hall not be disclosed to third parties. Please see slide 2 for additional information related to the content and limitations of this presentation. DO NOT SHARE WITH THIRD PARTIES.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6BF9EC49-0B88-EC40-9844-F4A3FACBCE4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pic>
        <p:nvPicPr>
          <p:cNvPr id="9" name="Picture 8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BA74174D-B697-D345-A5D7-9235F0C6D3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36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BC006-9FB3-4C42-A473-A9D296DF2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B4E0BD-FEB1-C84B-AC18-6BBCE03F16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2F121B-8B86-4041-8DB4-F130C116F2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A7527A-3BAC-4F4D-B7CB-86938A69AE62}"/>
              </a:ext>
            </a:extLst>
          </p:cNvPr>
          <p:cNvSpPr/>
          <p:nvPr userDrawn="1"/>
        </p:nvSpPr>
        <p:spPr>
          <a:xfrm>
            <a:off x="3074442" y="6315726"/>
            <a:ext cx="6579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TRICTLY CONFIDENTIAL. The slides and information discussed during the presentation constitutes confidential information and business secrets of BioNTech and Pfizer and </a:t>
            </a:r>
          </a:p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hall not be disclosed to third parties. Please see slide 2 for additional information related to the content and limitations of this presentation. DO NOT SHARE WITH THIRD PARTIES.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F09F342D-2D37-A041-BF29-D4F065D4A8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pic>
        <p:nvPicPr>
          <p:cNvPr id="12" name="Picture 11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B44FDBBC-3807-1440-99F5-4C7008A9637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620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296934-92D4-9E41-9663-1300B0BCE4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F9229C-2E84-F642-9705-7642EAE6C1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68E619-AC31-5542-B802-4061A33915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77EAC6-864B-614F-BE9D-62CB91DF43CF}"/>
              </a:ext>
            </a:extLst>
          </p:cNvPr>
          <p:cNvSpPr/>
          <p:nvPr userDrawn="1"/>
        </p:nvSpPr>
        <p:spPr>
          <a:xfrm>
            <a:off x="3074442" y="6315726"/>
            <a:ext cx="6579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TRICTLY CONFIDENTIAL. The slides and information discussed during the presentation constitutes confidential information and business secrets of BioNTech and Pfizer and </a:t>
            </a:r>
          </a:p>
          <a:p>
            <a:pPr algn="l"/>
            <a:r>
              <a:rPr lang="en-US" sz="700" b="0" i="0" dirty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shall not be disclosed to third parties. Please see slide 2 for additional information related to the content and limitations of this presentation. DO NOT SHARE WITH THIRD PARTIES.</a:t>
            </a:r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F8F9DBF6-410D-1845-9195-635AFA009E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43910" y="6204645"/>
            <a:ext cx="1372938" cy="462554"/>
          </a:xfrm>
          <a:prstGeom prst="rect">
            <a:avLst/>
          </a:prstGeom>
        </p:spPr>
      </p:pic>
      <p:pic>
        <p:nvPicPr>
          <p:cNvPr id="12" name="Picture 11" descr="A black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437AB417-3901-574A-B364-722EF91C96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5238" y="6281772"/>
            <a:ext cx="2009191" cy="41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111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jpe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D900B7-1D56-6E4C-8A67-6152319A7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13" y="273377"/>
            <a:ext cx="10891887" cy="9426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9775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8" r:id="rId13"/>
    <p:sldLayoutId id="2147483699" r:id="rId14"/>
    <p:sldLayoutId id="2147483700" r:id="rId15"/>
    <p:sldLayoutId id="2147483702" r:id="rId16"/>
    <p:sldLayoutId id="2147483704" r:id="rId17"/>
    <p:sldLayoutId id="2147483706" r:id="rId18"/>
    <p:sldLayoutId id="2147483707" r:id="rId19"/>
    <p:sldLayoutId id="2147483709" r:id="rId20"/>
    <p:sldLayoutId id="2147483710" r:id="rId21"/>
    <p:sldLayoutId id="2147483711" r:id="rId22"/>
    <p:sldLayoutId id="2147483712" r:id="rId23"/>
    <p:sldLayoutId id="2147483692" r:id="rId24"/>
    <p:sldLayoutId id="2147483696" r:id="rId25"/>
    <p:sldLayoutId id="2147483718" r:id="rId26"/>
    <p:sldLayoutId id="2147483720" r:id="rId27"/>
    <p:sldLayoutId id="2147483721" r:id="rId28"/>
    <p:sldLayoutId id="2147483726" r:id="rId29"/>
    <p:sldLayoutId id="2147483727" r:id="rId30"/>
    <p:sldLayoutId id="2147483730" r:id="rId31"/>
    <p:sldLayoutId id="2147483731" r:id="rId32"/>
    <p:sldLayoutId id="2147483732" r:id="rId3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543B9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0B130E-DB43-644B-8CFC-8C319E713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A98FD1-AA67-524A-BCA0-C4011E27B2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80D8CA-857F-8141-8758-5DB3D7303A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7F43F3-526F-2248-A794-68EFBB314DDA}" type="datetimeFigureOut">
              <a:rPr lang="en-GB" smtClean="0"/>
              <a:t>08/12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B61815-3D3E-824C-BEF7-05F2B9E763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B5296-23FC-C841-84F5-AFCBB5EE69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060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3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6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9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9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0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9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7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9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3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4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6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hyperlink" Target="https://www.mp.pl/szczepienia/praktyka/porocedury/71176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7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mirnatyeducation.pl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8.png"/><Relationship Id="rId4" Type="http://schemas.openxmlformats.org/officeDocument/2006/relationships/hyperlink" Target="http://www.comirnatyglobal.com/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briggs.id.au/jour/2013/07/sometimes-warnings-come/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mailto:POL.AEReporting@pfizer.com" TargetMode="External"/><Relationship Id="rId2" Type="http://schemas.openxmlformats.org/officeDocument/2006/relationships/hyperlink" Target="https://www.pfizerpro.com.pl/product/comirnaty/szczepionka-mrna-przeciw-covid-19" TargetMode="Externa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fizerpro.com.pl/product/comirnaty/szczepionka-mrna-przeciw-covid-19" TargetMode="External"/><Relationship Id="rId2" Type="http://schemas.openxmlformats.org/officeDocument/2006/relationships/hyperlink" Target="https://www.comirnatyeducation.pl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ema.europa.eu/en/documents/product-information/comirnaty-epar-product-information_pl.pdf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6.png"/><Relationship Id="rId18" Type="http://schemas.openxmlformats.org/officeDocument/2006/relationships/image" Target="../media/image21.sv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17" Type="http://schemas.openxmlformats.org/officeDocument/2006/relationships/image" Target="../media/image20.png"/><Relationship Id="rId2" Type="http://schemas.openxmlformats.org/officeDocument/2006/relationships/tags" Target="../tags/tag25.xml"/><Relationship Id="rId16" Type="http://schemas.openxmlformats.org/officeDocument/2006/relationships/image" Target="../media/image19.svg"/><Relationship Id="rId1" Type="http://schemas.openxmlformats.org/officeDocument/2006/relationships/tags" Target="../tags/tag24.xml"/><Relationship Id="rId6" Type="http://schemas.openxmlformats.org/officeDocument/2006/relationships/image" Target="../media/image9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18.png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0A3542-3228-49BE-B85D-A7F2B16766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7646" y="1984572"/>
            <a:ext cx="6438508" cy="2387600"/>
          </a:xfrm>
        </p:spPr>
        <p:txBody>
          <a:bodyPr>
            <a:noAutofit/>
          </a:bodyPr>
          <a:lstStyle/>
          <a:p>
            <a:r>
              <a:rPr lang="pl-PL" sz="3200" dirty="0" err="1"/>
              <a:t>Comirnaty</a:t>
            </a:r>
            <a:r>
              <a:rPr lang="pl-PL" sz="3200" dirty="0"/>
              <a:t> 3 mikrogramy/dawkę koncentrat do sporządzania dyspersji do </a:t>
            </a:r>
            <a:r>
              <a:rPr lang="pl-PL" sz="3200" dirty="0" err="1"/>
              <a:t>wstrzykiwań</a:t>
            </a:r>
            <a:br>
              <a:rPr lang="pl-PL" sz="3200" dirty="0"/>
            </a:br>
            <a:r>
              <a:rPr lang="pl-PL" sz="3200" dirty="0"/>
              <a:t>do stosowania u dzieci w wieku od 6 miesięcy do 4 lat</a:t>
            </a:r>
            <a:br>
              <a:rPr lang="pl-PL" sz="3200" i="1" dirty="0"/>
            </a:br>
            <a:br>
              <a:rPr lang="pl-PL" sz="3200" i="1" dirty="0"/>
            </a:br>
            <a:r>
              <a:rPr lang="pl-PL" sz="2800" i="1" dirty="0"/>
              <a:t>Przechowywanie, przygotowanie i podawanie produktu leczniczego</a:t>
            </a:r>
            <a:endParaRPr lang="en-US" sz="2800" i="1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4634E1D-32D4-4A87-9CA9-E539FFC445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7646" y="4372172"/>
            <a:ext cx="6969856" cy="1655762"/>
          </a:xfrm>
        </p:spPr>
        <p:txBody>
          <a:bodyPr lIns="91440" tIns="45720" rIns="91440" bIns="45720" anchor="t"/>
          <a:lstStyle/>
          <a:p>
            <a:endParaRPr lang="pl-PL" sz="1600" dirty="0">
              <a:solidFill>
                <a:srgbClr val="FF2F92"/>
              </a:solidFill>
              <a:latin typeface="Arial"/>
              <a:cs typeface="Arial"/>
            </a:endParaRPr>
          </a:p>
          <a:p>
            <a:r>
              <a:rPr lang="pl-PL" sz="1600" dirty="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rPr>
              <a:t>Urszula Sot</a:t>
            </a:r>
          </a:p>
          <a:p>
            <a:r>
              <a:rPr lang="pl-PL" sz="1600" dirty="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rPr>
              <a:t>Kierownik Medyczny Szczepionki, Pfizer Polska Sp. z o.o.</a:t>
            </a:r>
          </a:p>
          <a:p>
            <a:endParaRPr lang="pl-PL" sz="1600" dirty="0">
              <a:solidFill>
                <a:schemeClr val="bg1">
                  <a:lumMod val="75000"/>
                </a:schemeClr>
              </a:solidFill>
              <a:latin typeface="Arial"/>
              <a:cs typeface="Arial"/>
            </a:endParaRPr>
          </a:p>
          <a:p>
            <a:r>
              <a:rPr lang="pl-PL" sz="1600" dirty="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rPr>
              <a:t>Warszawa, 9 grudnia </a:t>
            </a:r>
            <a:r>
              <a:rPr lang="en-US" sz="1600" dirty="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rPr>
              <a:t>2022</a:t>
            </a:r>
          </a:p>
          <a:p>
            <a:endParaRPr lang="en-US" sz="1600" i="1" dirty="0">
              <a:solidFill>
                <a:srgbClr val="98A4B8"/>
              </a:solidFill>
              <a:latin typeface="Arial"/>
              <a:cs typeface="Arial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A154C94D-DCDF-4E8F-AFC1-4DCCEEEBCF3E}"/>
              </a:ext>
            </a:extLst>
          </p:cNvPr>
          <p:cNvSpPr txBox="1"/>
          <p:nvPr/>
        </p:nvSpPr>
        <p:spPr>
          <a:xfrm>
            <a:off x="10327341" y="6427695"/>
            <a:ext cx="20080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EM-POL-CVV-0017</a:t>
            </a:r>
          </a:p>
        </p:txBody>
      </p:sp>
    </p:spTree>
    <p:extLst>
      <p:ext uri="{BB962C8B-B14F-4D97-AF65-F5344CB8AC3E}">
        <p14:creationId xmlns:p14="http://schemas.microsoft.com/office/powerpoint/2010/main" val="4033975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EE0ADB-6DEB-43AF-83D8-EF6D7390758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2240" y="199836"/>
            <a:ext cx="10526759" cy="942958"/>
          </a:xfrm>
        </p:spPr>
        <p:txBody>
          <a:bodyPr>
            <a:noAutofit/>
          </a:bodyPr>
          <a:lstStyle/>
          <a:p>
            <a:pPr lvl="0"/>
            <a:r>
              <a:rPr lang="pl-PL" altLang="en-US" sz="2800" dirty="0">
                <a:solidFill>
                  <a:schemeClr val="tx1"/>
                </a:solidFill>
              </a:rPr>
              <a:t>Szczepionka </a:t>
            </a:r>
            <a:r>
              <a:rPr lang="pl-PL" altLang="en-US" sz="2800" dirty="0" err="1">
                <a:solidFill>
                  <a:schemeClr val="tx1"/>
                </a:solidFill>
              </a:rPr>
              <a:t>Comirnaty</a:t>
            </a:r>
            <a:r>
              <a:rPr lang="pl-PL" altLang="en-US" sz="2800" dirty="0">
                <a:solidFill>
                  <a:schemeClr val="tx1"/>
                </a:solidFill>
              </a:rPr>
              <a:t> 3 mikrogramy/dawkę </a:t>
            </a:r>
            <a:br>
              <a:rPr lang="en-US" altLang="en-US" sz="2800" dirty="0">
                <a:solidFill>
                  <a:schemeClr val="tx1"/>
                </a:solidFill>
              </a:rPr>
            </a:br>
            <a:r>
              <a:rPr lang="pl-PL" sz="2000" i="1" dirty="0">
                <a:solidFill>
                  <a:srgbClr val="800000"/>
                </a:solidFill>
              </a:rPr>
              <a:t>Przygotowanie produktu do podania</a:t>
            </a:r>
            <a:endParaRPr lang="en-US" altLang="en-US" sz="2000" i="1" dirty="0">
              <a:solidFill>
                <a:srgbClr val="8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FC4042-F6EB-465F-8FE9-7552361C51F6}"/>
              </a:ext>
            </a:extLst>
          </p:cNvPr>
          <p:cNvSpPr txBox="1"/>
          <p:nvPr/>
        </p:nvSpPr>
        <p:spPr bwMode="gray">
          <a:xfrm>
            <a:off x="752962" y="2255498"/>
            <a:ext cx="10189213" cy="350865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685800" lvl="1" indent="-2286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lvl="0" indent="0">
              <a:buNone/>
              <a:defRPr/>
            </a:pPr>
            <a:endParaRPr lang="en-US" dirty="0">
              <a:solidFill>
                <a:prstClr val="black"/>
              </a:solidFill>
              <a:latin typeface="Arial" panose="020B060402020202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pl-PL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dirty="0">
              <a:solidFill>
                <a:prstClr val="black"/>
              </a:solidFill>
              <a:latin typeface="Arial" panose="020B060402020202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l-PL" dirty="0">
                <a:solidFill>
                  <a:prstClr val="black"/>
                </a:solidFill>
                <a:latin typeface="Arial" panose="020B0604020202020204"/>
              </a:rPr>
              <a:t>Przestrzeń martwa w zestawie strzykawki i igły z małą przestrzenią martwą powinna wynosić nie więcej niż 35 </a:t>
            </a:r>
            <a:r>
              <a:rPr lang="pl-PL" dirty="0" err="1">
                <a:solidFill>
                  <a:prstClr val="black"/>
                </a:solidFill>
                <a:latin typeface="Arial" panose="020B0604020202020204"/>
              </a:rPr>
              <a:t>mikrolitrów</a:t>
            </a:r>
            <a:r>
              <a:rPr lang="pl-PL" dirty="0">
                <a:solidFill>
                  <a:prstClr val="black"/>
                </a:solidFill>
                <a:latin typeface="Arial" panose="020B0604020202020204"/>
              </a:rPr>
              <a:t>.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l-PL" dirty="0">
                <a:solidFill>
                  <a:prstClr val="black"/>
                </a:solidFill>
                <a:latin typeface="Arial" panose="020B0604020202020204"/>
              </a:rPr>
              <a:t>W razie stosowania standardowych strzykawek i igieł, objętość może być niewystarczająca do pobrania dziesięciu dawek z jednej fiolki. </a:t>
            </a:r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974FFE0-61C8-471B-9D44-128B4D578184}"/>
              </a:ext>
            </a:extLst>
          </p:cNvPr>
          <p:cNvSpPr/>
          <p:nvPr/>
        </p:nvSpPr>
        <p:spPr bwMode="gray">
          <a:xfrm>
            <a:off x="752962" y="1379106"/>
            <a:ext cx="9553759" cy="640080"/>
          </a:xfrm>
          <a:prstGeom prst="rect">
            <a:avLst/>
          </a:prstGeom>
          <a:solidFill>
            <a:srgbClr val="543B95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54864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00A94F"/>
              </a:buClr>
              <a:buSzPct val="90000"/>
              <a:defRPr/>
            </a:pPr>
            <a:r>
              <a:rPr lang="pl-PL" sz="2400" b="1" dirty="0">
                <a:solidFill>
                  <a:prstClr val="white"/>
                </a:solidFill>
                <a:latin typeface="Arial" panose="020B0604020202020204"/>
              </a:rPr>
              <a:t>Strzykawki/igły z małą przestrzenią martwą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3715574-398C-46B6-8EFD-3145B7B1401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32922" y="1379106"/>
            <a:ext cx="640080" cy="640080"/>
            <a:chOff x="85069" y="713840"/>
            <a:chExt cx="685800" cy="68580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2064EDBF-7969-4441-95EE-D228B11348EC}"/>
                </a:ext>
              </a:extLst>
            </p:cNvPr>
            <p:cNvSpPr/>
            <p:nvPr/>
          </p:nvSpPr>
          <p:spPr bwMode="gray">
            <a:xfrm>
              <a:off x="85069" y="713840"/>
              <a:ext cx="685800" cy="68580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A94F"/>
                </a:buClr>
                <a:buSzPct val="90000"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5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44" name="Graphic 43" descr="Needle">
              <a:extLst>
                <a:ext uri="{FF2B5EF4-FFF2-40B4-BE49-F238E27FC236}">
                  <a16:creationId xmlns:a16="http://schemas.microsoft.com/office/drawing/2014/main" id="{34D2AF3B-62A5-4CF5-BE74-99675A463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80768" y="780964"/>
              <a:ext cx="522979" cy="522979"/>
            </a:xfrm>
            <a:prstGeom prst="rect">
              <a:avLst/>
            </a:prstGeom>
          </p:spPr>
        </p:pic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8046E0C9-7BFC-4ADD-B681-FD60AA029D1B}"/>
              </a:ext>
            </a:extLst>
          </p:cNvPr>
          <p:cNvPicPr/>
          <p:nvPr/>
        </p:nvPicPr>
        <p:blipFill rotWithShape="1">
          <a:blip r:embed="rId9"/>
          <a:srcRect l="2534" t="3800" r="3168"/>
          <a:stretch/>
        </p:blipFill>
        <p:spPr bwMode="auto">
          <a:xfrm>
            <a:off x="2952191" y="2995155"/>
            <a:ext cx="5593715" cy="10858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EA710A-9500-48D9-8268-0547C159B1AC}"/>
              </a:ext>
            </a:extLst>
          </p:cNvPr>
          <p:cNvSpPr txBox="1"/>
          <p:nvPr/>
        </p:nvSpPr>
        <p:spPr>
          <a:xfrm>
            <a:off x="3536393" y="2323001"/>
            <a:ext cx="462235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dirty="0" err="1"/>
              <a:t>Martwa</a:t>
            </a:r>
            <a:r>
              <a:rPr lang="en-US" dirty="0"/>
              <a:t> </a:t>
            </a:r>
            <a:r>
              <a:rPr lang="en-US" dirty="0" err="1"/>
              <a:t>przestrzeń</a:t>
            </a:r>
            <a:r>
              <a:rPr lang="en-US" dirty="0"/>
              <a:t> </a:t>
            </a:r>
            <a:r>
              <a:rPr lang="en-US" dirty="0" err="1"/>
              <a:t>oznaczona</a:t>
            </a:r>
            <a:r>
              <a:rPr lang="en-US" dirty="0"/>
              <a:t> </a:t>
            </a:r>
            <a:r>
              <a:rPr lang="pl-PL" dirty="0"/>
              <a:t>na</a:t>
            </a:r>
            <a:r>
              <a:rPr lang="en-US" dirty="0"/>
              <a:t> </a:t>
            </a:r>
            <a:r>
              <a:rPr lang="pl-PL" dirty="0">
                <a:solidFill>
                  <a:srgbClr val="FF0000"/>
                </a:solidFill>
              </a:rPr>
              <a:t>CZERWONO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7A7BCEEA-EA16-4C65-A475-CD85E377DF78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</p:spTree>
    <p:extLst>
      <p:ext uri="{BB962C8B-B14F-4D97-AF65-F5344CB8AC3E}">
        <p14:creationId xmlns:p14="http://schemas.microsoft.com/office/powerpoint/2010/main" val="4266612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8E338145-BFE7-4A7F-A171-D3829AE1AB58}"/>
              </a:ext>
            </a:extLst>
          </p:cNvPr>
          <p:cNvSpPr/>
          <p:nvPr/>
        </p:nvSpPr>
        <p:spPr bwMode="gray">
          <a:xfrm>
            <a:off x="632460" y="1346400"/>
            <a:ext cx="11247120" cy="640080"/>
          </a:xfrm>
          <a:prstGeom prst="rect">
            <a:avLst/>
          </a:prstGeom>
          <a:solidFill>
            <a:srgbClr val="5C2A34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54864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00A94F"/>
              </a:buClr>
              <a:buSzPct val="90000"/>
              <a:defRPr/>
            </a:pPr>
            <a:r>
              <a:rPr lang="pl-PL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sób podawania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EE0ADB-6DEB-43AF-83D8-EF6D7390758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1739" y="20837"/>
            <a:ext cx="7813431" cy="1325563"/>
          </a:xfrm>
        </p:spPr>
        <p:txBody>
          <a:bodyPr>
            <a:noAutofit/>
          </a:bodyPr>
          <a:lstStyle/>
          <a:p>
            <a:pPr lvl="0"/>
            <a:r>
              <a:rPr lang="pl-PL" altLang="en-US" sz="2800" dirty="0">
                <a:solidFill>
                  <a:schemeClr val="tx1"/>
                </a:solidFill>
              </a:rPr>
              <a:t>Szczepionka </a:t>
            </a:r>
            <a:r>
              <a:rPr lang="pl-PL" altLang="en-US" sz="2800" dirty="0" err="1">
                <a:solidFill>
                  <a:schemeClr val="tx1"/>
                </a:solidFill>
              </a:rPr>
              <a:t>Comirnaty</a:t>
            </a:r>
            <a:r>
              <a:rPr lang="pl-PL" altLang="en-US" sz="2800" dirty="0">
                <a:solidFill>
                  <a:schemeClr val="tx1"/>
                </a:solidFill>
              </a:rPr>
              <a:t> 3 mikrogramy/dawkę </a:t>
            </a:r>
            <a:br>
              <a:rPr lang="en-US" altLang="en-US" sz="2800" dirty="0">
                <a:solidFill>
                  <a:schemeClr val="tx1"/>
                </a:solidFill>
              </a:rPr>
            </a:br>
            <a:r>
              <a:rPr lang="pl-PL" sz="2000" i="1" dirty="0">
                <a:solidFill>
                  <a:srgbClr val="800000"/>
                </a:solidFill>
              </a:rPr>
              <a:t>Przygotowanie produktu do podania</a:t>
            </a:r>
            <a:endParaRPr lang="en-US" altLang="en-US" sz="2800" dirty="0">
              <a:solidFill>
                <a:srgbClr val="8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904930-08C1-42A4-BC15-75CAB58D91D9}"/>
              </a:ext>
            </a:extLst>
          </p:cNvPr>
          <p:cNvSpPr txBox="1"/>
          <p:nvPr/>
        </p:nvSpPr>
        <p:spPr bwMode="gray">
          <a:xfrm>
            <a:off x="611206" y="4586212"/>
            <a:ext cx="9832340" cy="136473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28600" indent="-228600">
              <a:lnSpc>
                <a:spcPct val="94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200"/>
            </a:lvl1pPr>
            <a:lvl2pPr marL="685800" lvl="1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pl-PL" sz="1800" dirty="0"/>
              <a:t>Przestrzeń martwa w zestawie strzykawki i igły z małą przestrzenią martwą powinna wynosić nie więcej niż 35 </a:t>
            </a:r>
            <a:r>
              <a:rPr lang="pl-PL" sz="1800" dirty="0" err="1"/>
              <a:t>mikrolitrów</a:t>
            </a:r>
            <a:r>
              <a:rPr lang="en-US" sz="1800" dirty="0"/>
              <a:t>. </a:t>
            </a:r>
          </a:p>
          <a:p>
            <a:r>
              <a:rPr lang="pl-PL" sz="1800" dirty="0"/>
              <a:t>W razie stosowania standardowych strzykawek i igieł, objętość może być niewystarczająca do pobrania 10 dawek z jednej fiolki</a:t>
            </a:r>
            <a:r>
              <a:rPr lang="en-US" sz="1800" dirty="0"/>
              <a:t>. </a:t>
            </a:r>
            <a:endParaRPr lang="tr-T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2C55935-D2D3-4959-B288-CDAAF953944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2420" y="1346400"/>
            <a:ext cx="640080" cy="640080"/>
            <a:chOff x="85069" y="713840"/>
            <a:chExt cx="685800" cy="6858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A81242A-F6EE-4A34-88AC-715B3E75B0C4}"/>
                </a:ext>
              </a:extLst>
            </p:cNvPr>
            <p:cNvSpPr/>
            <p:nvPr/>
          </p:nvSpPr>
          <p:spPr bwMode="gray">
            <a:xfrm>
              <a:off x="85069" y="713840"/>
              <a:ext cx="685800" cy="68580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5C2A34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A94F"/>
                </a:buClr>
                <a:buSzPct val="90000"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" name="Graphic 8" descr="Needle">
              <a:extLst>
                <a:ext uri="{FF2B5EF4-FFF2-40B4-BE49-F238E27FC236}">
                  <a16:creationId xmlns:a16="http://schemas.microsoft.com/office/drawing/2014/main" id="{08ECC736-B72B-4CF6-BCC9-A11BE282F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80768" y="780964"/>
              <a:ext cx="522979" cy="522979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39DB1593-9223-E041-B0E5-FCF7EDC6DE7A}"/>
              </a:ext>
            </a:extLst>
          </p:cNvPr>
          <p:cNvSpPr/>
          <p:nvPr/>
        </p:nvSpPr>
        <p:spPr>
          <a:xfrm>
            <a:off x="2233907" y="2967335"/>
            <a:ext cx="662944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dirty="0"/>
              <a:t>Po rozcieńczeniu, fiolki z produktem leczniczym </a:t>
            </a:r>
            <a:r>
              <a:rPr lang="pl-PL" dirty="0" err="1"/>
              <a:t>Comirnaty</a:t>
            </a:r>
            <a:r>
              <a:rPr lang="pl-PL" dirty="0"/>
              <a:t> zawierają </a:t>
            </a:r>
            <a:r>
              <a:rPr lang="pl-PL" b="1" dirty="0"/>
              <a:t>10 dawek szczepionki po 0,2 ml</a:t>
            </a:r>
            <a:r>
              <a:rPr lang="pl-PL" dirty="0"/>
              <a:t>. Aby pobrać 10 dawek z jednej fiolki, należy używać strzykawek i (lub) igieł z małą przestrzenią martwą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33D0D3-5F7D-DE4D-BEEC-8628403F89E8}"/>
              </a:ext>
            </a:extLst>
          </p:cNvPr>
          <p:cNvSpPr txBox="1"/>
          <p:nvPr/>
        </p:nvSpPr>
        <p:spPr>
          <a:xfrm>
            <a:off x="632460" y="2093713"/>
            <a:ext cx="11247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/>
              <a:t>Szczepionkę </a:t>
            </a:r>
            <a:r>
              <a:rPr lang="pl-PL" dirty="0" err="1"/>
              <a:t>Comirnaty</a:t>
            </a:r>
            <a:r>
              <a:rPr lang="pl-PL" dirty="0"/>
              <a:t> 3 mikrogramy/dawkę koncentrat do sporządzania dyspersji do </a:t>
            </a:r>
            <a:r>
              <a:rPr lang="pl-PL" dirty="0" err="1"/>
              <a:t>wstrzykiwań</a:t>
            </a:r>
            <a:r>
              <a:rPr lang="pl-PL" dirty="0"/>
              <a:t> należy podawać domięśniowo po rozcieńczeniu</a:t>
            </a:r>
          </a:p>
        </p:txBody>
      </p:sp>
      <p:pic>
        <p:nvPicPr>
          <p:cNvPr id="7" name="Picture 6" descr="A picture containing bottle&#10;&#10;Description automatically generated">
            <a:extLst>
              <a:ext uri="{FF2B5EF4-FFF2-40B4-BE49-F238E27FC236}">
                <a16:creationId xmlns:a16="http://schemas.microsoft.com/office/drawing/2014/main" id="{295E54E1-B00E-6FB7-301C-A4B44C5D44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1206" y="2803790"/>
            <a:ext cx="1622701" cy="1364733"/>
          </a:xfrm>
          <a:prstGeom prst="rect">
            <a:avLst/>
          </a:prstGeom>
        </p:spPr>
      </p:pic>
      <p:sp>
        <p:nvSpPr>
          <p:cNvPr id="16" name="pole tekstowe 15">
            <a:extLst>
              <a:ext uri="{FF2B5EF4-FFF2-40B4-BE49-F238E27FC236}">
                <a16:creationId xmlns:a16="http://schemas.microsoft.com/office/drawing/2014/main" id="{9144E3A8-ABE1-4AB5-9223-DB420BE9C270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17" name="Grupa 16">
            <a:extLst>
              <a:ext uri="{FF2B5EF4-FFF2-40B4-BE49-F238E27FC236}">
                <a16:creationId xmlns:a16="http://schemas.microsoft.com/office/drawing/2014/main" id="{794FF4BA-DA76-4FAD-A60E-5F626E48F143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18" name="object 4">
              <a:extLst>
                <a:ext uri="{FF2B5EF4-FFF2-40B4-BE49-F238E27FC236}">
                  <a16:creationId xmlns:a16="http://schemas.microsoft.com/office/drawing/2014/main" id="{52968A46-4BD4-4BF8-98AA-85C8F96546E6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5">
              <a:extLst>
                <a:ext uri="{FF2B5EF4-FFF2-40B4-BE49-F238E27FC236}">
                  <a16:creationId xmlns:a16="http://schemas.microsoft.com/office/drawing/2014/main" id="{E00A81DC-199C-483C-8813-363115A7135D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DCD268A8-E710-4F91-A25C-B1BCCEEFE80D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23" name="object 11">
              <a:extLst>
                <a:ext uri="{FF2B5EF4-FFF2-40B4-BE49-F238E27FC236}">
                  <a16:creationId xmlns:a16="http://schemas.microsoft.com/office/drawing/2014/main" id="{1A625B05-7AE3-41D8-BEEC-020A7DF5DA91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24" name="object 12">
              <a:extLst>
                <a:ext uri="{FF2B5EF4-FFF2-40B4-BE49-F238E27FC236}">
                  <a16:creationId xmlns:a16="http://schemas.microsoft.com/office/drawing/2014/main" id="{DD80F46D-7894-468F-902E-3F50EF0B430B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32059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4" name="Title 2">
            <a:extLst>
              <a:ext uri="{FF2B5EF4-FFF2-40B4-BE49-F238E27FC236}">
                <a16:creationId xmlns:a16="http://schemas.microsoft.com/office/drawing/2014/main" id="{F545D470-5193-9340-BE75-01AADC08735F}"/>
              </a:ext>
            </a:extLst>
          </p:cNvPr>
          <p:cNvSpPr txBox="1">
            <a:spLocks/>
          </p:cNvSpPr>
          <p:nvPr/>
        </p:nvSpPr>
        <p:spPr bwMode="gray">
          <a:xfrm>
            <a:off x="447480" y="529425"/>
            <a:ext cx="11297039" cy="4502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zczepionka </a:t>
            </a:r>
            <a:r>
              <a:rPr kumimoji="0" lang="pl-PL" alt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irnaty</a:t>
            </a:r>
            <a:r>
              <a:rPr kumimoji="0" lang="pl-PL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3 mikrogramy/dawkę </a:t>
            </a:r>
            <a:b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zygotowanie produktu do podania</a:t>
            </a:r>
            <a:endParaRPr lang="en-US" sz="3600" b="0" dirty="0">
              <a:solidFill>
                <a:srgbClr val="8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B6E68F6-254F-A14B-8F54-BA546424E1F7}"/>
              </a:ext>
            </a:extLst>
          </p:cNvPr>
          <p:cNvSpPr txBox="1"/>
          <p:nvPr/>
        </p:nvSpPr>
        <p:spPr>
          <a:xfrm>
            <a:off x="2023898" y="2196402"/>
            <a:ext cx="8388043" cy="297517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285750" lvl="0" indent="-285750">
              <a:spcAft>
                <a:spcPts val="1600"/>
              </a:spcAft>
              <a:buClr>
                <a:prstClr val="black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l-PL" sz="1600" kern="0" dirty="0">
                <a:solidFill>
                  <a:prstClr val="black"/>
                </a:solidFill>
              </a:rPr>
              <a:t>Szczepionka jest dostarczana w </a:t>
            </a:r>
            <a:r>
              <a:rPr lang="pl-PL" sz="1600" b="1" kern="0" dirty="0">
                <a:solidFill>
                  <a:prstClr val="black"/>
                </a:solidFill>
              </a:rPr>
              <a:t>fiolce wielodawkowej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.</a:t>
            </a:r>
          </a:p>
          <a:p>
            <a:pPr marL="285750" indent="-285750">
              <a:spcAft>
                <a:spcPts val="600"/>
              </a:spcAft>
              <a:buClr>
                <a:prstClr val="black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600" kern="0" dirty="0" err="1">
                <a:solidFill>
                  <a:prstClr val="black"/>
                </a:solidFill>
              </a:rPr>
              <a:t>Szczepionk</a:t>
            </a:r>
            <a:r>
              <a:rPr lang="pl-PL" sz="1600" kern="0" dirty="0">
                <a:solidFill>
                  <a:prstClr val="black"/>
                </a:solidFill>
              </a:rPr>
              <a:t>ę</a:t>
            </a:r>
            <a:r>
              <a:rPr lang="en-US" sz="1600" kern="0" dirty="0">
                <a:solidFill>
                  <a:prstClr val="black"/>
                </a:solidFill>
              </a:rPr>
              <a:t> </a:t>
            </a:r>
            <a:r>
              <a:rPr lang="pl-PL" sz="1600" b="1" kern="0" dirty="0">
                <a:solidFill>
                  <a:prstClr val="black"/>
                </a:solidFill>
              </a:rPr>
              <a:t>należy rozcieńczyć jałowym roztworem chlorku sodu do </a:t>
            </a:r>
            <a:r>
              <a:rPr lang="pl-PL" sz="1600" b="1" kern="0" dirty="0" err="1">
                <a:solidFill>
                  <a:prstClr val="black"/>
                </a:solidFill>
              </a:rPr>
              <a:t>wstrzykiwań</a:t>
            </a:r>
            <a:r>
              <a:rPr lang="pl-PL" sz="1600" b="1" kern="0" dirty="0">
                <a:solidFill>
                  <a:prstClr val="black"/>
                </a:solidFill>
              </a:rPr>
              <a:t> o stężeniu 9 mg/ml (0,9%) </a:t>
            </a:r>
            <a:r>
              <a:rPr lang="en-US" sz="1600" kern="0" dirty="0" err="1">
                <a:solidFill>
                  <a:prstClr val="black"/>
                </a:solidFill>
              </a:rPr>
              <a:t>przed</a:t>
            </a:r>
            <a:r>
              <a:rPr lang="en-US" sz="1600" kern="0" dirty="0">
                <a:solidFill>
                  <a:prstClr val="black"/>
                </a:solidFill>
              </a:rPr>
              <a:t> </a:t>
            </a:r>
            <a:r>
              <a:rPr lang="en-US" sz="1600" kern="0" dirty="0" err="1">
                <a:solidFill>
                  <a:prstClr val="black"/>
                </a:solidFill>
              </a:rPr>
              <a:t>podaniem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.</a:t>
            </a:r>
          </a:p>
          <a:p>
            <a:pPr marL="742950" lvl="1" indent="-285750">
              <a:spcAft>
                <a:spcPts val="600"/>
              </a:spcAft>
              <a:buClr>
                <a:prstClr val="black"/>
              </a:buClr>
              <a:buSzPct val="120000"/>
              <a:buFont typeface="Courier New" panose="02070309020205020404" pitchFamily="49" charset="0"/>
              <a:buChar char="o"/>
              <a:defRPr/>
            </a:pPr>
            <a:r>
              <a:rPr lang="pl-PL" sz="1600" kern="0" dirty="0">
                <a:solidFill>
                  <a:prstClr val="black"/>
                </a:solidFill>
              </a:rPr>
              <a:t>WYŁĄCZNIE należy używać jałowego roztworu chlorku sodu do </a:t>
            </a:r>
            <a:r>
              <a:rPr lang="pl-PL" sz="1600" kern="0" dirty="0" err="1">
                <a:solidFill>
                  <a:prstClr val="black"/>
                </a:solidFill>
              </a:rPr>
              <a:t>wstrzykiwań</a:t>
            </a:r>
            <a:r>
              <a:rPr lang="pl-PL" sz="1600" kern="0" dirty="0">
                <a:solidFill>
                  <a:prstClr val="black"/>
                </a:solidFill>
              </a:rPr>
              <a:t> o stężeniu 9 mg/ml (0,9%) jako rozcieńczalnik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.</a:t>
            </a:r>
            <a:endParaRPr lang="en-US" sz="1600" kern="0" dirty="0">
              <a:solidFill>
                <a:prstClr val="black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pl-PL" sz="1600" b="0" dirty="0"/>
              <a:t>Jedna fiolka po dodaniu rozcieńczalnika w ilości </a:t>
            </a:r>
            <a:r>
              <a:rPr lang="en-US" sz="1600" b="1" dirty="0"/>
              <a:t>2.2 mL </a:t>
            </a:r>
            <a:r>
              <a:rPr lang="en-US" sz="1600" kern="0" dirty="0">
                <a:solidFill>
                  <a:prstClr val="black"/>
                </a:solidFill>
              </a:rPr>
              <a:t>9 mg/mL (0.9%) </a:t>
            </a:r>
            <a:r>
              <a:rPr lang="pl-PL" sz="1600" b="1" dirty="0"/>
              <a:t>zawiera  10 dawek po </a:t>
            </a:r>
            <a:r>
              <a:rPr lang="en-US" sz="1600" b="1" dirty="0"/>
              <a:t>0.2 mL (10 mcg)</a:t>
            </a:r>
            <a:r>
              <a:rPr lang="en-US" sz="1600" dirty="0"/>
              <a:t>.</a:t>
            </a:r>
            <a:endParaRPr lang="en-US" sz="1600" b="1" dirty="0"/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SzPct val="120000"/>
              <a:buFont typeface="Courier New" panose="02070309020205020404" pitchFamily="49" charset="0"/>
              <a:buChar char="o"/>
            </a:pPr>
            <a:r>
              <a:rPr lang="pl-PL" sz="1600" b="1" dirty="0"/>
              <a:t>Nie należy dodawać więcej niż 2,2 ml rozcieńczalnika</a:t>
            </a:r>
            <a:r>
              <a:rPr lang="en-US" sz="1600" dirty="0"/>
              <a:t>.</a:t>
            </a:r>
          </a:p>
          <a:p>
            <a:pPr marL="742950" lvl="1" indent="-285750">
              <a:spcAft>
                <a:spcPts val="600"/>
              </a:spcAft>
              <a:buClr>
                <a:prstClr val="black"/>
              </a:buClr>
              <a:buSzPct val="120000"/>
              <a:buFont typeface="Arial" panose="020B0604020202020204" pitchFamily="34" charset="0"/>
              <a:buChar char="•"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0C79569-493C-F741-94FC-509B212B9112}"/>
              </a:ext>
            </a:extLst>
          </p:cNvPr>
          <p:cNvSpPr txBox="1"/>
          <p:nvPr/>
        </p:nvSpPr>
        <p:spPr bwMode="gray">
          <a:xfrm>
            <a:off x="1262271" y="5273911"/>
            <a:ext cx="10058400" cy="798299"/>
          </a:xfrm>
          <a:prstGeom prst="rect">
            <a:avLst/>
          </a:prstGeom>
          <a:solidFill>
            <a:sysClr val="window" lastClr="FFFFFF">
              <a:lumMod val="95000"/>
              <a:alpha val="50588"/>
            </a:sysClr>
          </a:solidFill>
          <a:ln w="22225" cap="sq">
            <a:noFill/>
          </a:ln>
        </p:spPr>
        <p:txBody>
          <a:bodyPr wrap="square" lIns="182832" tIns="182880" rIns="182832" bIns="182880" rtlCol="0" anchor="ctr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>
              <a:defRPr/>
            </a:pPr>
            <a:r>
              <a:rPr lang="pl-PL" sz="1600" kern="0" cap="all" dirty="0">
                <a:solidFill>
                  <a:prstClr val="black"/>
                </a:solidFill>
              </a:rPr>
              <a:t>Ważne: </a:t>
            </a:r>
            <a:r>
              <a:rPr lang="pl-PL" sz="1600" b="0" kern="0" cap="all" dirty="0">
                <a:solidFill>
                  <a:prstClr val="black"/>
                </a:solidFill>
              </a:rPr>
              <a:t>Niezależnie od objętości fiolki z rozcieńczalnikiem, należy ją użyć do JEDNORAZOWEGO rozcieńczenia (po pobraniu pozostały rozcieńczalnik należy wyrzucić)</a:t>
            </a:r>
            <a:r>
              <a:rPr lang="pl-PL" sz="1600" kern="0" cap="all" dirty="0">
                <a:solidFill>
                  <a:prstClr val="black"/>
                </a:solidFill>
              </a:rPr>
              <a:t>
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AA3E8C3D-CD6A-449C-8EAA-D05CA02841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300" y="2279081"/>
            <a:ext cx="1814552" cy="1695450"/>
          </a:xfrm>
          <a:prstGeom prst="rect">
            <a:avLst/>
          </a:prstGeom>
        </p:spPr>
      </p:pic>
      <p:sp>
        <p:nvSpPr>
          <p:cNvPr id="11" name="Rectangle 28">
            <a:extLst>
              <a:ext uri="{FF2B5EF4-FFF2-40B4-BE49-F238E27FC236}">
                <a16:creationId xmlns:a16="http://schemas.microsoft.com/office/drawing/2014/main" id="{15EAC3F9-C241-4175-BCA7-651584FF3446}"/>
              </a:ext>
            </a:extLst>
          </p:cNvPr>
          <p:cNvSpPr/>
          <p:nvPr/>
        </p:nvSpPr>
        <p:spPr bwMode="gray">
          <a:xfrm>
            <a:off x="447480" y="1278525"/>
            <a:ext cx="10582470" cy="471474"/>
          </a:xfrm>
          <a:prstGeom prst="rect">
            <a:avLst/>
          </a:prstGeom>
          <a:solidFill>
            <a:srgbClr val="5C2A34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54864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00A94F"/>
              </a:buClr>
              <a:buSzPct val="90000"/>
              <a:defRPr/>
            </a:pPr>
            <a:r>
              <a:rPr lang="pl-PL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zcieńczanie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CAC1A6E0-2BB0-4481-A17F-3FCC58DF38AA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13" name="Grupa 12">
            <a:extLst>
              <a:ext uri="{FF2B5EF4-FFF2-40B4-BE49-F238E27FC236}">
                <a16:creationId xmlns:a16="http://schemas.microsoft.com/office/drawing/2014/main" id="{180E1FC0-34ED-4942-BDC2-249E44B83CCC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14" name="object 4">
              <a:extLst>
                <a:ext uri="{FF2B5EF4-FFF2-40B4-BE49-F238E27FC236}">
                  <a16:creationId xmlns:a16="http://schemas.microsoft.com/office/drawing/2014/main" id="{93E9692C-CAE4-4651-85D9-9BFC70917854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5">
              <a:extLst>
                <a:ext uri="{FF2B5EF4-FFF2-40B4-BE49-F238E27FC236}">
                  <a16:creationId xmlns:a16="http://schemas.microsoft.com/office/drawing/2014/main" id="{FB75FA83-04E9-4F5E-A38D-B78BFDDCC313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7">
              <a:extLst>
                <a:ext uri="{FF2B5EF4-FFF2-40B4-BE49-F238E27FC236}">
                  <a16:creationId xmlns:a16="http://schemas.microsoft.com/office/drawing/2014/main" id="{926AA7DC-C5C5-4DC2-8CA4-0B3017A7D43F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94DA5668-261A-45F8-95DB-9F72CE466182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2555B0AE-52C3-43EB-B5A9-EAEB9DE86684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490514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C7D10209-C643-784A-86B0-3926B0DDEC2A}"/>
              </a:ext>
            </a:extLst>
          </p:cNvPr>
          <p:cNvSpPr txBox="1">
            <a:spLocks/>
          </p:cNvSpPr>
          <p:nvPr/>
        </p:nvSpPr>
        <p:spPr bwMode="gray">
          <a:xfrm>
            <a:off x="445658" y="362018"/>
            <a:ext cx="11297039" cy="4502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zczepionka </a:t>
            </a:r>
            <a:r>
              <a:rPr kumimoji="0" lang="pl-PL" alt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irnaty</a:t>
            </a:r>
            <a:r>
              <a:rPr kumimoji="0" lang="pl-PL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mikrogramy/dawkę </a:t>
            </a:r>
            <a:b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zygotowanie produktu do podania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AFCE9E9-3101-7E4F-9EA9-736C5F68BCA5}"/>
              </a:ext>
            </a:extLst>
          </p:cNvPr>
          <p:cNvSpPr txBox="1"/>
          <p:nvPr/>
        </p:nvSpPr>
        <p:spPr>
          <a:xfrm>
            <a:off x="1861516" y="2484709"/>
            <a:ext cx="8310581" cy="128240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285750" lvl="0" indent="-285750">
              <a:spcAft>
                <a:spcPts val="1600"/>
              </a:spcAft>
              <a:buClr>
                <a:prstClr val="black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zcieńczon</a:t>
            </a:r>
            <a:r>
              <a:rPr lang="pl-PL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pl-PL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olki należy przechowywać w temperaturze </a:t>
            </a: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r>
              <a:rPr kumimoji="0" lang="pl-PL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 ºC </a:t>
            </a: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ºC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0" indent="-285750">
              <a:spcAft>
                <a:spcPts val="1600"/>
              </a:spcAft>
              <a:buClr>
                <a:prstClr val="black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l-PL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czas przechowywania należy zminimalizować ekspozycję na światło w pomieszczeniu oraz unikać ekspozycji na bezpośrednie działanie światła słonecznego i promieniowania ultrafioletowego.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2055637-12F7-914F-8208-1FAF5E45B3AF}"/>
              </a:ext>
            </a:extLst>
          </p:cNvPr>
          <p:cNvSpPr txBox="1"/>
          <p:nvPr/>
        </p:nvSpPr>
        <p:spPr>
          <a:xfrm>
            <a:off x="1861516" y="3737091"/>
            <a:ext cx="8511209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prstClr val="black"/>
              </a:buClr>
              <a:buSzPct val="120000"/>
              <a:buFontTx/>
              <a:buNone/>
              <a:tabLst/>
              <a:defRPr/>
            </a:pPr>
            <a:r>
              <a:rPr kumimoji="0" lang="pl-PL" sz="24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</a:rPr>
              <a:t>Po rozmrożeniu szczepionki nie należy jej ponownie zamrażać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779D76-E95D-AFC8-B649-5B81779E7083}"/>
              </a:ext>
            </a:extLst>
          </p:cNvPr>
          <p:cNvSpPr txBox="1"/>
          <p:nvPr/>
        </p:nvSpPr>
        <p:spPr>
          <a:xfrm>
            <a:off x="1928191" y="4168735"/>
            <a:ext cx="7723809" cy="14055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pl-PL" sz="1800" dirty="0"/>
              <a:t>Przed użyciem nieotwarte fiolki można przechowywać przez maksymalnie 12 godzin w temperaturze </a:t>
            </a:r>
            <a:r>
              <a:rPr lang="pl-PL" sz="1800" b="1" dirty="0"/>
              <a:t>do 30°C.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pl-PL" sz="1800" b="0" dirty="0"/>
              <a:t>Wszelkie resztki szczepionki niewykorzystane w ciągu 12 godzin od rozcieńczenia należy wyrzucić</a:t>
            </a:r>
            <a:endParaRPr lang="en-US" dirty="0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8F9BA078-4F46-4AB0-A884-6DCEC47958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64" y="1918530"/>
            <a:ext cx="1814552" cy="1695450"/>
          </a:xfrm>
          <a:prstGeom prst="rect">
            <a:avLst/>
          </a:prstGeom>
        </p:spPr>
      </p:pic>
      <p:sp>
        <p:nvSpPr>
          <p:cNvPr id="11" name="Rectangle 28">
            <a:extLst>
              <a:ext uri="{FF2B5EF4-FFF2-40B4-BE49-F238E27FC236}">
                <a16:creationId xmlns:a16="http://schemas.microsoft.com/office/drawing/2014/main" id="{154F71F0-2C22-4D5F-909A-32E10C2458F4}"/>
              </a:ext>
            </a:extLst>
          </p:cNvPr>
          <p:cNvSpPr/>
          <p:nvPr/>
        </p:nvSpPr>
        <p:spPr bwMode="gray">
          <a:xfrm>
            <a:off x="447480" y="1278525"/>
            <a:ext cx="10582470" cy="471474"/>
          </a:xfrm>
          <a:prstGeom prst="rect">
            <a:avLst/>
          </a:prstGeom>
          <a:solidFill>
            <a:srgbClr val="5C2A34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54864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00A94F"/>
              </a:buClr>
              <a:buSzPct val="90000"/>
              <a:defRPr/>
            </a:pPr>
            <a:r>
              <a:rPr lang="pl-PL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zechowywanie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DF88D9EA-5DF1-4A58-93EA-7237817C5C03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13" name="Grupa 12">
            <a:extLst>
              <a:ext uri="{FF2B5EF4-FFF2-40B4-BE49-F238E27FC236}">
                <a16:creationId xmlns:a16="http://schemas.microsoft.com/office/drawing/2014/main" id="{220FE68A-7B2A-443A-B231-3170B2E1B1EE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14" name="object 4">
              <a:extLst>
                <a:ext uri="{FF2B5EF4-FFF2-40B4-BE49-F238E27FC236}">
                  <a16:creationId xmlns:a16="http://schemas.microsoft.com/office/drawing/2014/main" id="{72D04254-57A7-46E6-8877-00655B4BBB6E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5">
              <a:extLst>
                <a:ext uri="{FF2B5EF4-FFF2-40B4-BE49-F238E27FC236}">
                  <a16:creationId xmlns:a16="http://schemas.microsoft.com/office/drawing/2014/main" id="{9D363CD1-0DC8-49EB-98C7-6F78C674B7C3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7">
              <a:extLst>
                <a:ext uri="{FF2B5EF4-FFF2-40B4-BE49-F238E27FC236}">
                  <a16:creationId xmlns:a16="http://schemas.microsoft.com/office/drawing/2014/main" id="{805BAC8E-155F-4725-8228-41894C087027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62979533-4854-4A4C-85BE-6AC213C966F9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05CFFF52-85B5-4DC2-8C74-4630F7016133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630274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0" name="Picture 2" descr="BD Luer-Lok 3 mL Syringe Tip with Needle Combination 25 Gauge">
            <a:extLst>
              <a:ext uri="{FF2B5EF4-FFF2-40B4-BE49-F238E27FC236}">
                <a16:creationId xmlns:a16="http://schemas.microsoft.com/office/drawing/2014/main" id="{DF000C52-7D58-D843-A889-6102265E34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067190" y="4239799"/>
            <a:ext cx="1283525" cy="153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4" descr="Saline NaCl Sodium Chloride 0.9% 10ml Vial">
            <a:extLst>
              <a:ext uri="{FF2B5EF4-FFF2-40B4-BE49-F238E27FC236}">
                <a16:creationId xmlns:a16="http://schemas.microsoft.com/office/drawing/2014/main" id="{53193F7D-7177-7F42-B3D4-C5FAA42377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63289" y="4167630"/>
            <a:ext cx="832561" cy="1571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itle 2">
            <a:extLst>
              <a:ext uri="{FF2B5EF4-FFF2-40B4-BE49-F238E27FC236}">
                <a16:creationId xmlns:a16="http://schemas.microsoft.com/office/drawing/2014/main" id="{8F610C23-4EE0-034E-A458-342965F64E8A}"/>
              </a:ext>
            </a:extLst>
          </p:cNvPr>
          <p:cNvSpPr txBox="1">
            <a:spLocks/>
          </p:cNvSpPr>
          <p:nvPr/>
        </p:nvSpPr>
        <p:spPr bwMode="gray">
          <a:xfrm>
            <a:off x="447480" y="475014"/>
            <a:ext cx="11297039" cy="4502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zczepionka </a:t>
            </a:r>
            <a:r>
              <a:rPr kumimoji="0" lang="pl-PL" alt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irnaty</a:t>
            </a:r>
            <a:r>
              <a:rPr kumimoji="0" lang="pl-PL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mikrogramy/dawkę </a:t>
            </a:r>
            <a:br>
              <a:rPr kumimoji="0" lang="en-US" alt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l-PL" sz="2800" b="0" i="1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zygotowanie produktu do podania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32751BB-8D59-1E4B-9A01-F50BEE801377}"/>
              </a:ext>
            </a:extLst>
          </p:cNvPr>
          <p:cNvCxnSpPr>
            <a:cxnSpLocks/>
          </p:cNvCxnSpPr>
          <p:nvPr/>
        </p:nvCxnSpPr>
        <p:spPr>
          <a:xfrm>
            <a:off x="2982213" y="1879194"/>
            <a:ext cx="18609" cy="4191215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02B9CB5B-FD0D-5C4C-98B2-979948B45C34}"/>
              </a:ext>
            </a:extLst>
          </p:cNvPr>
          <p:cNvSpPr txBox="1"/>
          <p:nvPr/>
        </p:nvSpPr>
        <p:spPr bwMode="gray">
          <a:xfrm>
            <a:off x="212299" y="1915754"/>
            <a:ext cx="2759126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buClr>
                <a:schemeClr val="tx1"/>
              </a:buClr>
              <a:buSzPct val="100000"/>
              <a:defRPr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>
              <a:buClr>
                <a:prstClr val="black"/>
              </a:buClr>
              <a:defRPr/>
            </a:pPr>
            <a:r>
              <a:rPr lang="pl-PL" sz="1600" kern="0" dirty="0">
                <a:solidFill>
                  <a:prstClr val="black"/>
                </a:solidFill>
                <a:latin typeface="Arial"/>
              </a:rPr>
              <a:t>Do przygotowania jednej fiolki
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18D3497-D9F4-4244-888F-1F1474F447B1}"/>
              </a:ext>
            </a:extLst>
          </p:cNvPr>
          <p:cNvSpPr txBox="1"/>
          <p:nvPr/>
        </p:nvSpPr>
        <p:spPr bwMode="gray">
          <a:xfrm>
            <a:off x="3076512" y="1915753"/>
            <a:ext cx="4420963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buClr>
                <a:schemeClr val="tx1"/>
              </a:buClr>
              <a:buSzPct val="100000"/>
              <a:defRPr b="1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>
              <a:buClr>
                <a:prstClr val="black"/>
              </a:buClr>
              <a:defRPr/>
            </a:pPr>
            <a:r>
              <a:rPr lang="pl-PL" sz="1600" kern="0" dirty="0">
                <a:solidFill>
                  <a:prstClr val="black"/>
                </a:solidFill>
                <a:latin typeface="Arial"/>
              </a:rPr>
              <a:t>Do dodania rozcieńczalnika
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 panose="020B0604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CDD3866-DDE5-9F49-B929-07A6A453EB95}"/>
              </a:ext>
            </a:extLst>
          </p:cNvPr>
          <p:cNvSpPr/>
          <p:nvPr/>
        </p:nvSpPr>
        <p:spPr bwMode="gray">
          <a:xfrm>
            <a:off x="7095467" y="1915753"/>
            <a:ext cx="5096533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buClr>
                <a:prstClr val="black"/>
              </a:buClr>
              <a:buSzPct val="100000"/>
              <a:defRPr/>
            </a:pPr>
            <a:r>
              <a:rPr lang="pl-PL" sz="1600" b="1" dirty="0">
                <a:solidFill>
                  <a:srgbClr val="5C2A34"/>
                </a:solidFill>
                <a:cs typeface="Arial" panose="020B0604020202020204" pitchFamily="34" charset="0"/>
              </a:rPr>
              <a:t>Do podawania szczepionki (wstrzyknięcie domięśniowe) 
</a:t>
            </a:r>
            <a:endParaRPr lang="en-US" sz="1600" b="1" dirty="0">
              <a:solidFill>
                <a:srgbClr val="5C2A34"/>
              </a:solidFill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50A759C-FF74-334F-B218-6DA89F6A55C4}"/>
              </a:ext>
            </a:extLst>
          </p:cNvPr>
          <p:cNvSpPr txBox="1"/>
          <p:nvPr/>
        </p:nvSpPr>
        <p:spPr bwMode="gray">
          <a:xfrm>
            <a:off x="96140" y="2485746"/>
            <a:ext cx="2736618" cy="175432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685800" lvl="1" indent="-2286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400" b="1" kern="0" dirty="0">
                <a:solidFill>
                  <a:prstClr val="black"/>
                </a:solidFill>
              </a:rPr>
              <a:t>1 fiolka chlorku sodu 9 mg/ml </a:t>
            </a:r>
            <a:r>
              <a:rPr lang="pl-PL" sz="1400" kern="0" dirty="0">
                <a:solidFill>
                  <a:prstClr val="black"/>
                </a:solidFill>
              </a:rPr>
              <a:t>(0,9%) roztwór do </a:t>
            </a:r>
            <a:r>
              <a:rPr lang="pl-PL" sz="1400" kern="0" dirty="0" err="1">
                <a:solidFill>
                  <a:prstClr val="black"/>
                </a:solidFill>
              </a:rPr>
              <a:t>wstrzykiwań</a:t>
            </a:r>
            <a:r>
              <a:rPr lang="pl-PL" sz="1400" kern="0" dirty="0">
                <a:solidFill>
                  <a:prstClr val="black"/>
                </a:solidFill>
              </a:rPr>
              <a:t>
Inne materiały, takie jak waciki nasączone alkoholem, rękawice, środki ochrony indywidualnej
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0A1AC11-87D8-1A4D-8EC9-CB8004623648}"/>
              </a:ext>
            </a:extLst>
          </p:cNvPr>
          <p:cNvSpPr txBox="1"/>
          <p:nvPr/>
        </p:nvSpPr>
        <p:spPr bwMode="gray">
          <a:xfrm>
            <a:off x="3087799" y="2485746"/>
            <a:ext cx="3235678" cy="167738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685800" lvl="1" indent="-2286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400" kern="0" dirty="0">
                <a:solidFill>
                  <a:prstClr val="black"/>
                </a:solidFill>
              </a:rPr>
              <a:t>JEDNA strzykawka </a:t>
            </a:r>
            <a:r>
              <a:rPr lang="pl-PL" sz="1400" b="1" kern="0" dirty="0">
                <a:solidFill>
                  <a:prstClr val="black"/>
                </a:solidFill>
              </a:rPr>
              <a:t>3 ml </a:t>
            </a:r>
            <a:r>
              <a:rPr lang="pl-PL" sz="1400" kern="0" dirty="0">
                <a:solidFill>
                  <a:prstClr val="black"/>
                </a:solidFill>
              </a:rPr>
              <a:t>(optymalny rozmiar) </a:t>
            </a:r>
            <a:r>
              <a:rPr lang="pl-PL" sz="1400" b="1" kern="0" dirty="0">
                <a:solidFill>
                  <a:prstClr val="black"/>
                </a:solidFill>
              </a:rPr>
              <a:t>lub</a:t>
            </a:r>
            <a:r>
              <a:rPr lang="pl-PL" sz="1400" kern="0" dirty="0">
                <a:solidFill>
                  <a:prstClr val="black"/>
                </a:solidFill>
              </a:rPr>
              <a:t> strzykawka </a:t>
            </a:r>
            <a:r>
              <a:rPr lang="pl-PL" sz="1400" b="1" kern="0" dirty="0">
                <a:solidFill>
                  <a:prstClr val="black"/>
                </a:solidFill>
              </a:rPr>
              <a:t>5 ml </a:t>
            </a:r>
            <a:r>
              <a:rPr lang="pl-PL" sz="1400" kern="0" dirty="0">
                <a:solidFill>
                  <a:prstClr val="black"/>
                </a:solidFill>
              </a:rPr>
              <a:t>do pobrania rozcieńczalnika 
Do pobrania rozcieńczalnika należy użyć jednej igły o grubości </a:t>
            </a:r>
            <a:r>
              <a:rPr lang="pl-PL" sz="1400" b="1" kern="0" dirty="0">
                <a:solidFill>
                  <a:prstClr val="black"/>
                </a:solidFill>
              </a:rPr>
              <a:t>21 G</a:t>
            </a:r>
            <a:r>
              <a:rPr lang="pl-PL" sz="1400" kern="0" dirty="0">
                <a:solidFill>
                  <a:prstClr val="black"/>
                </a:solidFill>
              </a:rPr>
              <a:t> lub węższej. Użyj tej samej igły, aby dodać rozcieńczalnik do fiolki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8E75C2E-16A8-3041-ADE0-F750B0770B69}"/>
              </a:ext>
            </a:extLst>
          </p:cNvPr>
          <p:cNvSpPr txBox="1"/>
          <p:nvPr/>
        </p:nvSpPr>
        <p:spPr bwMode="gray">
          <a:xfrm>
            <a:off x="6686073" y="2485746"/>
            <a:ext cx="5096533" cy="116955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685800" lvl="1" indent="-2286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31775" marR="0" lvl="1" indent="-2317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trzykawka 1 m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742950" lvl="2" indent="-28575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400" kern="0" dirty="0">
                <a:solidFill>
                  <a:prstClr val="black"/>
                </a:solidFill>
              </a:rPr>
              <a:t>1 </a:t>
            </a:r>
            <a:r>
              <a:rPr lang="pl-PL" sz="1400" kern="0" dirty="0">
                <a:solidFill>
                  <a:prstClr val="black"/>
                </a:solidFill>
              </a:rPr>
              <a:t>strzykawka na dawkę/pacjent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pl-PL" sz="1400" b="1" kern="0" dirty="0">
                <a:solidFill>
                  <a:prstClr val="black"/>
                </a:solidFill>
              </a:rPr>
              <a:t>Igła o grubości 25 G </a:t>
            </a:r>
            <a:r>
              <a:rPr lang="pl-PL" sz="1400" kern="0" dirty="0">
                <a:solidFill>
                  <a:prstClr val="black"/>
                </a:solidFill>
              </a:rPr>
              <a:t>do podania domięśniowego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742950" lvl="2" indent="-28575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pl-PL" sz="1400" kern="0" dirty="0">
                <a:solidFill>
                  <a:prstClr val="black"/>
                </a:solidFill>
              </a:rPr>
              <a:t>Długość igły dostosowana do wieku i masy ciała dziecka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– </a:t>
            </a:r>
            <a:r>
              <a:rPr kumimoji="0" lang="pl-PL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6 mm, 25 mm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, </a:t>
            </a:r>
            <a:r>
              <a:rPr kumimoji="0" lang="pl-PL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2 mm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80" name="Picture 8" descr="BD Alcohol Swabs (Prep Pads) 100/Box — Mountainside Medical Equipment">
            <a:extLst>
              <a:ext uri="{FF2B5EF4-FFF2-40B4-BE49-F238E27FC236}">
                <a16:creationId xmlns:a16="http://schemas.microsoft.com/office/drawing/2014/main" id="{0B72CED6-8373-FC48-B8C5-CC2569EF81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084513" y="4597198"/>
            <a:ext cx="1422540" cy="1014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B3EB0DE-181D-2F4B-B6AB-7806A5B059B8}"/>
              </a:ext>
            </a:extLst>
          </p:cNvPr>
          <p:cNvCxnSpPr>
            <a:cxnSpLocks/>
          </p:cNvCxnSpPr>
          <p:nvPr/>
        </p:nvCxnSpPr>
        <p:spPr>
          <a:xfrm>
            <a:off x="6536617" y="1915753"/>
            <a:ext cx="0" cy="4154656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</p:cxn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CD8DB4C-D87C-DA49-B69E-77B3393920FF}"/>
              </a:ext>
            </a:extLst>
          </p:cNvPr>
          <p:cNvGrpSpPr/>
          <p:nvPr/>
        </p:nvGrpSpPr>
        <p:grpSpPr>
          <a:xfrm>
            <a:off x="7555958" y="3637610"/>
            <a:ext cx="1286267" cy="868325"/>
            <a:chOff x="8304324" y="3241658"/>
            <a:chExt cx="2162455" cy="1482367"/>
          </a:xfrm>
        </p:grpSpPr>
        <p:pic>
          <p:nvPicPr>
            <p:cNvPr id="84" name="Picture 4" descr="A close up of a logo&#10;&#10;Description automatically generated">
              <a:extLst>
                <a:ext uri="{FF2B5EF4-FFF2-40B4-BE49-F238E27FC236}">
                  <a16:creationId xmlns:a16="http://schemas.microsoft.com/office/drawing/2014/main" id="{26B7DC3E-DC52-EC42-BAB1-00D80CBF78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425996" y="3241658"/>
              <a:ext cx="2040783" cy="1482367"/>
            </a:xfrm>
            <a:prstGeom prst="rect">
              <a:avLst/>
            </a:prstGeom>
            <a:solidFill>
              <a:srgbClr val="000000">
                <a:lumMod val="60000"/>
                <a:lumOff val="40000"/>
              </a:srgbClr>
            </a:solidFill>
          </p:spPr>
        </p:pic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49C13B86-5187-CB40-AC31-98AA18A70227}"/>
                </a:ext>
              </a:extLst>
            </p:cNvPr>
            <p:cNvSpPr/>
            <p:nvPr/>
          </p:nvSpPr>
          <p:spPr>
            <a:xfrm rot="20772675">
              <a:off x="8304324" y="4372064"/>
              <a:ext cx="1905000" cy="10836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C54B6CF-1FBB-E740-815D-940C5148F979}"/>
              </a:ext>
            </a:extLst>
          </p:cNvPr>
          <p:cNvGrpSpPr/>
          <p:nvPr/>
        </p:nvGrpSpPr>
        <p:grpSpPr>
          <a:xfrm>
            <a:off x="9295313" y="3519767"/>
            <a:ext cx="1335228" cy="955124"/>
            <a:chOff x="8390779" y="3371978"/>
            <a:chExt cx="1981909" cy="1439610"/>
          </a:xfrm>
        </p:grpSpPr>
        <p:pic>
          <p:nvPicPr>
            <p:cNvPr id="87" name="Picture 4" descr="A close up of a logo&#10;&#10;Description automatically generated">
              <a:extLst>
                <a:ext uri="{FF2B5EF4-FFF2-40B4-BE49-F238E27FC236}">
                  <a16:creationId xmlns:a16="http://schemas.microsoft.com/office/drawing/2014/main" id="{B3AD8F54-298B-774E-A3EA-D1AB1874B0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90779" y="3371978"/>
              <a:ext cx="1981909" cy="1439610"/>
            </a:xfrm>
            <a:prstGeom prst="rect">
              <a:avLst/>
            </a:prstGeom>
            <a:solidFill>
              <a:srgbClr val="000000">
                <a:lumMod val="60000"/>
                <a:lumOff val="40000"/>
              </a:srgbClr>
            </a:solidFill>
          </p:spPr>
        </p:pic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755B86D5-9557-0545-8987-4B59F4E6A617}"/>
                </a:ext>
              </a:extLst>
            </p:cNvPr>
            <p:cNvSpPr/>
            <p:nvPr/>
          </p:nvSpPr>
          <p:spPr>
            <a:xfrm rot="20738871">
              <a:off x="8413617" y="4418583"/>
              <a:ext cx="1905000" cy="169587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D3585CEA-3439-892F-A033-85299F300988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7926" t="16051" r="17926"/>
          <a:stretch/>
        </p:blipFill>
        <p:spPr>
          <a:xfrm>
            <a:off x="6578806" y="1913733"/>
            <a:ext cx="474473" cy="468000"/>
          </a:xfrm>
          <a:prstGeom prst="rect">
            <a:avLst/>
          </a:prstGeom>
        </p:spPr>
      </p:pic>
      <p:sp>
        <p:nvSpPr>
          <p:cNvPr id="24" name="Rectangle 28">
            <a:extLst>
              <a:ext uri="{FF2B5EF4-FFF2-40B4-BE49-F238E27FC236}">
                <a16:creationId xmlns:a16="http://schemas.microsoft.com/office/drawing/2014/main" id="{AFF02104-7F3E-4D00-9737-84EB489BB33B}"/>
              </a:ext>
            </a:extLst>
          </p:cNvPr>
          <p:cNvSpPr/>
          <p:nvPr/>
        </p:nvSpPr>
        <p:spPr bwMode="gray">
          <a:xfrm>
            <a:off x="447480" y="1278525"/>
            <a:ext cx="10582470" cy="471474"/>
          </a:xfrm>
          <a:prstGeom prst="rect">
            <a:avLst/>
          </a:prstGeom>
          <a:solidFill>
            <a:srgbClr val="5C2A34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54864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00A94F"/>
              </a:buClr>
              <a:buSzPct val="90000"/>
              <a:defRPr/>
            </a:pPr>
            <a:r>
              <a:rPr lang="pl-PL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zbędny sprzęt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724D24C2-D538-431C-827E-06974333767C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26" name="Grupa 25">
            <a:extLst>
              <a:ext uri="{FF2B5EF4-FFF2-40B4-BE49-F238E27FC236}">
                <a16:creationId xmlns:a16="http://schemas.microsoft.com/office/drawing/2014/main" id="{B97448E1-C023-4A0E-9F74-5C348DD44D1C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27" name="object 4">
              <a:extLst>
                <a:ext uri="{FF2B5EF4-FFF2-40B4-BE49-F238E27FC236}">
                  <a16:creationId xmlns:a16="http://schemas.microsoft.com/office/drawing/2014/main" id="{7F2889A9-D613-4DFA-97A6-FE44C8EAFE5F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5">
              <a:extLst>
                <a:ext uri="{FF2B5EF4-FFF2-40B4-BE49-F238E27FC236}">
                  <a16:creationId xmlns:a16="http://schemas.microsoft.com/office/drawing/2014/main" id="{28E73BDC-173C-43EE-BAD1-F2223E0CE5CD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7">
              <a:extLst>
                <a:ext uri="{FF2B5EF4-FFF2-40B4-BE49-F238E27FC236}">
                  <a16:creationId xmlns:a16="http://schemas.microsoft.com/office/drawing/2014/main" id="{734FC3CF-E95C-443C-B77E-C11DAC9A33A7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30" name="object 11">
              <a:extLst>
                <a:ext uri="{FF2B5EF4-FFF2-40B4-BE49-F238E27FC236}">
                  <a16:creationId xmlns:a16="http://schemas.microsoft.com/office/drawing/2014/main" id="{8650AF88-AE25-45A4-BF12-0171B40AF1AE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31" name="object 12">
              <a:extLst>
                <a:ext uri="{FF2B5EF4-FFF2-40B4-BE49-F238E27FC236}">
                  <a16:creationId xmlns:a16="http://schemas.microsoft.com/office/drawing/2014/main" id="{F1D49C18-A4F2-46F3-AA89-C159376F2541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6209844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BCEA446-F8E4-C84C-B65C-6199857D3CA9}"/>
              </a:ext>
            </a:extLst>
          </p:cNvPr>
          <p:cNvSpPr txBox="1"/>
          <p:nvPr/>
        </p:nvSpPr>
        <p:spPr bwMode="gray">
          <a:xfrm>
            <a:off x="3741420" y="1484590"/>
            <a:ext cx="8261400" cy="194360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685800" lvl="1" indent="-2286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spcBef>
                <a:spcPts val="600"/>
              </a:spcBef>
            </a:pPr>
            <a:r>
              <a:rPr lang="pl-PL" sz="1300" dirty="0"/>
              <a:t>Należy zweryfikować, czy fiolka ma </a:t>
            </a:r>
            <a:r>
              <a:rPr lang="pl-PL" sz="1300" b="1" dirty="0"/>
              <a:t>kasztanowe plastikowe </a:t>
            </a:r>
            <a:r>
              <a:rPr lang="pl-PL" sz="1300" dirty="0"/>
              <a:t>wieczko.</a:t>
            </a:r>
          </a:p>
          <a:p>
            <a:pPr>
              <a:spcBef>
                <a:spcPts val="600"/>
              </a:spcBef>
            </a:pPr>
            <a:r>
              <a:rPr lang="pl-PL" sz="1300" dirty="0"/>
              <a:t>Jeśli fiolka ma </a:t>
            </a:r>
            <a:r>
              <a:rPr lang="pl-PL" sz="1300" b="1" dirty="0"/>
              <a:t>fioletowe plastikowe wieczko</a:t>
            </a:r>
            <a:r>
              <a:rPr lang="pl-PL" sz="1300" dirty="0"/>
              <a:t>, należy zapoznać się z treścią Charakterystyki Produktu Leczniczego </a:t>
            </a:r>
            <a:r>
              <a:rPr lang="pl-PL" sz="1300" dirty="0" err="1"/>
              <a:t>Comirnaty</a:t>
            </a:r>
            <a:r>
              <a:rPr lang="pl-PL" sz="1300" dirty="0"/>
              <a:t> 30 mikrogramów/dawkę koncentrat do sporządzania dyspersji do </a:t>
            </a:r>
            <a:r>
              <a:rPr lang="pl-PL" sz="1300" dirty="0" err="1"/>
              <a:t>wstrzykiwań</a:t>
            </a:r>
            <a:r>
              <a:rPr lang="pl-PL" sz="1300" dirty="0"/>
              <a:t>.</a:t>
            </a:r>
          </a:p>
          <a:p>
            <a:pPr>
              <a:spcBef>
                <a:spcPts val="600"/>
              </a:spcBef>
            </a:pPr>
            <a:r>
              <a:rPr lang="pl-PL" sz="1300" dirty="0"/>
              <a:t>Jeśli fiolka ma </a:t>
            </a:r>
            <a:r>
              <a:rPr lang="pl-PL" sz="1300" b="1" dirty="0"/>
              <a:t>szare plastikowe wieczko</a:t>
            </a:r>
            <a:r>
              <a:rPr lang="pl-PL" sz="1300" dirty="0"/>
              <a:t>, należy zapoznać się z treścią Charakterystyki Produktu Leczniczego </a:t>
            </a:r>
            <a:r>
              <a:rPr lang="pl-PL" sz="1300" dirty="0" err="1"/>
              <a:t>Comirnaty</a:t>
            </a:r>
            <a:r>
              <a:rPr lang="pl-PL" sz="1300" dirty="0"/>
              <a:t> </a:t>
            </a:r>
            <a:r>
              <a:rPr lang="pl-PL" sz="1300" dirty="0" err="1"/>
              <a:t>Original</a:t>
            </a:r>
            <a:r>
              <a:rPr lang="pl-PL" sz="1300" dirty="0"/>
              <a:t>/</a:t>
            </a:r>
            <a:r>
              <a:rPr lang="pl-PL" sz="1300" dirty="0" err="1"/>
              <a:t>Omicron</a:t>
            </a:r>
            <a:r>
              <a:rPr lang="pl-PL" sz="1300" dirty="0"/>
              <a:t> BA.1 (15/15 mikrogramów)/dawkę dyspersja do </a:t>
            </a:r>
            <a:r>
              <a:rPr lang="pl-PL" sz="1300" dirty="0" err="1"/>
              <a:t>wstrzykiwań</a:t>
            </a:r>
            <a:r>
              <a:rPr lang="pl-PL" sz="1300" dirty="0"/>
              <a:t> lub </a:t>
            </a:r>
            <a:r>
              <a:rPr lang="pl-PL" sz="1300" dirty="0" err="1"/>
              <a:t>Comirnaty</a:t>
            </a:r>
            <a:r>
              <a:rPr lang="pl-PL" sz="1300" dirty="0"/>
              <a:t> </a:t>
            </a:r>
            <a:r>
              <a:rPr lang="pl-PL" sz="1300" dirty="0" err="1"/>
              <a:t>Original</a:t>
            </a:r>
            <a:r>
              <a:rPr lang="pl-PL" sz="1300" dirty="0"/>
              <a:t>/</a:t>
            </a:r>
            <a:r>
              <a:rPr lang="pl-PL" sz="1300" dirty="0" err="1"/>
              <a:t>Omicron</a:t>
            </a:r>
            <a:r>
              <a:rPr lang="pl-PL" sz="1300" dirty="0"/>
              <a:t> BA.4-5 (15/15 mikrogramów)/dawkę dyspersja do </a:t>
            </a:r>
            <a:r>
              <a:rPr lang="pl-PL" sz="1300" dirty="0" err="1"/>
              <a:t>wstrzykiwań</a:t>
            </a:r>
            <a:r>
              <a:rPr lang="pl-PL" sz="1300" dirty="0"/>
              <a:t>.</a:t>
            </a:r>
          </a:p>
          <a:p>
            <a:pPr>
              <a:spcBef>
                <a:spcPts val="600"/>
              </a:spcBef>
            </a:pPr>
            <a:r>
              <a:rPr lang="pl-PL" sz="1300" dirty="0"/>
              <a:t>Jeśli fiolka ma </a:t>
            </a:r>
            <a:r>
              <a:rPr lang="pl-PL" sz="1300" b="1" dirty="0"/>
              <a:t>pomarańczowe plastikowe wieczko</a:t>
            </a:r>
            <a:r>
              <a:rPr lang="pl-PL" sz="1300" dirty="0"/>
              <a:t>, należy zapoznać się z treścią Charakterystyki Produktu Leczniczego </a:t>
            </a:r>
            <a:r>
              <a:rPr lang="pl-PL" sz="1300" dirty="0" err="1"/>
              <a:t>Comirnaty</a:t>
            </a:r>
            <a:r>
              <a:rPr lang="pl-PL" sz="1300" dirty="0"/>
              <a:t> 10 mikrogramów/dawkę koncentrat do sporządzania dyspersji do </a:t>
            </a:r>
            <a:r>
              <a:rPr lang="pl-PL" sz="1300" dirty="0" err="1"/>
              <a:t>wstrzykiwań</a:t>
            </a:r>
            <a:r>
              <a:rPr lang="pl-PL" sz="1300" dirty="0"/>
              <a:t> lub </a:t>
            </a:r>
            <a:r>
              <a:rPr lang="pl-PL" sz="1300" dirty="0" err="1"/>
              <a:t>Comirnaty</a:t>
            </a:r>
            <a:r>
              <a:rPr lang="pl-PL" sz="1300" dirty="0"/>
              <a:t> </a:t>
            </a:r>
            <a:r>
              <a:rPr lang="pl-PL" sz="1300" dirty="0" err="1"/>
              <a:t>Original</a:t>
            </a:r>
            <a:r>
              <a:rPr lang="pl-PL" sz="1300" dirty="0"/>
              <a:t>/</a:t>
            </a:r>
            <a:r>
              <a:rPr lang="pl-PL" sz="1300" dirty="0" err="1"/>
              <a:t>Omicron</a:t>
            </a:r>
            <a:r>
              <a:rPr lang="pl-PL" sz="1300" dirty="0"/>
              <a:t> BA.4-5 (5/5 mikrogramów)/dawkę koncentrat do sporządzania dyspersji do </a:t>
            </a:r>
            <a:r>
              <a:rPr lang="pl-PL" sz="1300" dirty="0" err="1"/>
              <a:t>wstrzykiwań</a:t>
            </a:r>
            <a:r>
              <a:rPr lang="pl-PL" sz="1300" dirty="0"/>
              <a:t>.</a:t>
            </a:r>
            <a:endParaRPr lang="en-US" sz="13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95E685A-61ED-E14E-A316-7C5755ACDB4E}"/>
              </a:ext>
            </a:extLst>
          </p:cNvPr>
          <p:cNvCxnSpPr>
            <a:cxnSpLocks/>
          </p:cNvCxnSpPr>
          <p:nvPr/>
        </p:nvCxnSpPr>
        <p:spPr>
          <a:xfrm>
            <a:off x="434036" y="3436675"/>
            <a:ext cx="11323928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0553C717-648B-0F46-BDE5-DEE17AAFCBB5}"/>
              </a:ext>
            </a:extLst>
          </p:cNvPr>
          <p:cNvSpPr txBox="1"/>
          <p:nvPr/>
        </p:nvSpPr>
        <p:spPr bwMode="gray">
          <a:xfrm>
            <a:off x="3689692" y="3786700"/>
            <a:ext cx="8364855" cy="240065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1pPr>
            <a:lvl2pPr marL="685800" lvl="1" indent="-2286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pl-PL" sz="1300" kern="0" dirty="0">
                <a:solidFill>
                  <a:prstClr val="black"/>
                </a:solidFill>
              </a:rPr>
              <a:t>Jeśli wielodawkową fiolkę przechowuje się zamrożoną, trzeba ją rozmrozić przed użyciem. Zamrożone fiolki należy umieścić w temperaturze od 2°C do 8°C w celu rozmrożenia. Rozmrożenie opakowania zawierającego </a:t>
            </a:r>
            <a:r>
              <a:rPr lang="pl-PL" sz="1300" b="1" kern="0" dirty="0">
                <a:solidFill>
                  <a:prstClr val="black"/>
                </a:solidFill>
              </a:rPr>
              <a:t>10 fiolek może zająć 2 godziny.</a:t>
            </a:r>
            <a:r>
              <a:rPr lang="pl-PL" sz="1300" kern="0" dirty="0">
                <a:solidFill>
                  <a:prstClr val="black"/>
                </a:solidFill>
              </a:rPr>
              <a:t> Przed użyciem należy się upewnić, że fiolki są całkowicie rozmrożone.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pl-PL" sz="1300" kern="0" dirty="0">
                <a:solidFill>
                  <a:prstClr val="black"/>
                </a:solidFill>
              </a:rPr>
              <a:t>Po przeniesieniu fiolek do warunków przechowywania w temperaturze od 2°C do 8°C należy uaktualnić termin ważności na pudełku tekturowym.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pl-PL" sz="1300" kern="0" dirty="0">
                <a:solidFill>
                  <a:prstClr val="black"/>
                </a:solidFill>
              </a:rPr>
              <a:t>Nieotwarte fiolki można przechowywać przez maksymalnie </a:t>
            </a:r>
            <a:r>
              <a:rPr lang="pl-PL" sz="1300" b="1" kern="0" dirty="0">
                <a:solidFill>
                  <a:prstClr val="black"/>
                </a:solidFill>
              </a:rPr>
              <a:t>10 tygodni w temperaturze od 2°C do 8°C</a:t>
            </a:r>
            <a:r>
              <a:rPr lang="pl-PL" sz="1300" kern="0" dirty="0">
                <a:solidFill>
                  <a:prstClr val="black"/>
                </a:solidFill>
              </a:rPr>
              <a:t>, nie przekraczając wydrukowanego terminu ważności (EXP).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pl-PL" sz="1300" kern="0" dirty="0">
                <a:solidFill>
                  <a:prstClr val="black"/>
                </a:solidFill>
              </a:rPr>
              <a:t>Alternatywnie, pojedyncze zamrożone fiolki można również rozmrażać przez </a:t>
            </a:r>
            <a:r>
              <a:rPr lang="pl-PL" sz="1300" b="1" kern="0" dirty="0">
                <a:solidFill>
                  <a:prstClr val="black"/>
                </a:solidFill>
              </a:rPr>
              <a:t>30 minut w temperaturze do 30°C</a:t>
            </a:r>
            <a:r>
              <a:rPr lang="pl-PL" sz="1300" kern="0" dirty="0">
                <a:solidFill>
                  <a:prstClr val="black"/>
                </a:solidFill>
              </a:rPr>
              <a:t>.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pl-PL" sz="1300" kern="0" dirty="0">
                <a:solidFill>
                  <a:prstClr val="black"/>
                </a:solidFill>
              </a:rPr>
              <a:t>Przed użyciem nieotwartą fiolkę można przechowywać przez maksymalnie </a:t>
            </a:r>
            <a:r>
              <a:rPr lang="pl-PL" sz="1300" b="1" kern="0" dirty="0">
                <a:solidFill>
                  <a:prstClr val="black"/>
                </a:solidFill>
              </a:rPr>
              <a:t>12 godzin w temperaturze do 30°C</a:t>
            </a:r>
            <a:r>
              <a:rPr lang="pl-PL" sz="1300" kern="0" dirty="0">
                <a:solidFill>
                  <a:prstClr val="black"/>
                </a:solidFill>
              </a:rPr>
              <a:t>. Przygotowywanie rozmrożonych fiolek do stosowania może odbywać się w oświetlonych pomieszczeniach.</a:t>
            </a:r>
            <a:endParaRPr lang="en-US" sz="1300" kern="0" dirty="0">
              <a:solidFill>
                <a:prstClr val="black"/>
              </a:solidFill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2275BD6F-32AA-B54A-A851-C2210485A0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769" y="194484"/>
            <a:ext cx="9017008" cy="993884"/>
          </a:xfrm>
        </p:spPr>
        <p:txBody>
          <a:bodyPr>
            <a:noAutofit/>
          </a:bodyPr>
          <a:lstStyle/>
          <a:p>
            <a:r>
              <a:rPr lang="pl-PL" sz="2400" dirty="0">
                <a:solidFill>
                  <a:schemeClr val="tx1"/>
                </a:solidFill>
              </a:rPr>
              <a:t>Szczepionka </a:t>
            </a:r>
            <a:r>
              <a:rPr lang="pl-PL" sz="2400" dirty="0" err="1">
                <a:solidFill>
                  <a:schemeClr val="tx1"/>
                </a:solidFill>
              </a:rPr>
              <a:t>Comirnaty</a:t>
            </a:r>
            <a:r>
              <a:rPr lang="pl-PL" sz="2400" dirty="0">
                <a:solidFill>
                  <a:schemeClr val="tx1"/>
                </a:solidFill>
              </a:rPr>
              <a:t> 3 mikrogramy/dawkę 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pl-PL" sz="2000" i="1" dirty="0">
                <a:solidFill>
                  <a:srgbClr val="5C2A34"/>
                </a:solidFill>
              </a:rPr>
              <a:t>Instrukcja przygotowania produktu leczniczego do sto</a:t>
            </a:r>
            <a:r>
              <a:rPr lang="pl-PL" sz="2000" dirty="0">
                <a:solidFill>
                  <a:srgbClr val="5C2A34"/>
                </a:solidFill>
              </a:rPr>
              <a:t>sowania </a:t>
            </a:r>
            <a:endParaRPr lang="en-US" sz="2000" dirty="0">
              <a:solidFill>
                <a:srgbClr val="5C2A34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E2A153E-A9F2-4243-9C7E-C28E526F02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832089"/>
              </p:ext>
            </p:extLst>
          </p:nvPr>
        </p:nvGraphicFramePr>
        <p:xfrm>
          <a:off x="189180" y="1214258"/>
          <a:ext cx="11584051" cy="335280"/>
        </p:xfrm>
        <a:graphic>
          <a:graphicData uri="http://schemas.openxmlformats.org/drawingml/2006/table">
            <a:tbl>
              <a:tblPr/>
              <a:tblGrid>
                <a:gridCol w="11584051">
                  <a:extLst>
                    <a:ext uri="{9D8B030D-6E8A-4147-A177-3AD203B41FA5}">
                      <a16:colId xmlns:a16="http://schemas.microsoft.com/office/drawing/2014/main" val="206413673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pl-PL" sz="11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RYFIKACJA FIOLKI PRODUKTU LECZNICZEGO COMIRNATY 3 MIKROGRAMY/DAWKĘ KONCENTRAT DO SPORZĄDZANIA DYSPERSJI DO WSTRZYKIWAŃ (NIEMOWLĘTA I DZIECI WWIEKU OD 6 MIESIĘCY DO 4 LAT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625" marR="4762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8491285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8A31B0B2-85A0-5348-8E7D-FC9238B09B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608541"/>
              </p:ext>
            </p:extLst>
          </p:nvPr>
        </p:nvGraphicFramePr>
        <p:xfrm>
          <a:off x="121874" y="3482120"/>
          <a:ext cx="11718662" cy="335280"/>
        </p:xfrm>
        <a:graphic>
          <a:graphicData uri="http://schemas.openxmlformats.org/drawingml/2006/table">
            <a:tbl>
              <a:tblPr/>
              <a:tblGrid>
                <a:gridCol w="11718662">
                  <a:extLst>
                    <a:ext uri="{9D8B030D-6E8A-4147-A177-3AD203B41FA5}">
                      <a16:colId xmlns:a16="http://schemas.microsoft.com/office/drawing/2014/main" val="2064136739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r>
                        <a:rPr lang="pl-PL" sz="11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ĘPOWANIE PRZED UŻYCIEM PRODUKTU LECZNICZEGO COMIRNATY 3 MIKROGRAMY/DAWKĘ KONCENTRAT DO SPORZĄDZANIA DYSPERSJI DO WSTRZYKIWAŃ (NIEMOWLLĘTA I DZIECI W WIEKU OD 6 MIESIĘCY DO 4 LAT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625" marR="47625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8491285"/>
                  </a:ext>
                </a:extLst>
              </a:tr>
            </a:tbl>
          </a:graphicData>
        </a:graphic>
      </p:graphicFrame>
      <p:pic>
        <p:nvPicPr>
          <p:cNvPr id="8" name="Obraz 7">
            <a:extLst>
              <a:ext uri="{FF2B5EF4-FFF2-40B4-BE49-F238E27FC236}">
                <a16:creationId xmlns:a16="http://schemas.microsoft.com/office/drawing/2014/main" id="{430A84AC-723D-4A87-AB4D-16D5195A8D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837" y="1603459"/>
            <a:ext cx="1804427" cy="1636218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1F0892B6-07D2-4526-BF07-2762484BE3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4362" y="4049863"/>
            <a:ext cx="2486025" cy="1552575"/>
          </a:xfrm>
          <a:prstGeom prst="rect">
            <a:avLst/>
          </a:prstGeom>
        </p:spPr>
      </p:pic>
      <p:sp>
        <p:nvSpPr>
          <p:cNvPr id="19" name="pole tekstowe 18">
            <a:extLst>
              <a:ext uri="{FF2B5EF4-FFF2-40B4-BE49-F238E27FC236}">
                <a16:creationId xmlns:a16="http://schemas.microsoft.com/office/drawing/2014/main" id="{797EB008-5F13-416A-83FA-9ABCC4FD575C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20" name="Grupa 19">
            <a:extLst>
              <a:ext uri="{FF2B5EF4-FFF2-40B4-BE49-F238E27FC236}">
                <a16:creationId xmlns:a16="http://schemas.microsoft.com/office/drawing/2014/main" id="{33CD2141-539B-49C7-993B-73807CD0711E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23" name="object 4">
              <a:extLst>
                <a:ext uri="{FF2B5EF4-FFF2-40B4-BE49-F238E27FC236}">
                  <a16:creationId xmlns:a16="http://schemas.microsoft.com/office/drawing/2014/main" id="{98C43AC2-0A58-41C1-91E9-6954FAF48229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5">
              <a:extLst>
                <a:ext uri="{FF2B5EF4-FFF2-40B4-BE49-F238E27FC236}">
                  <a16:creationId xmlns:a16="http://schemas.microsoft.com/office/drawing/2014/main" id="{CC57969E-DB6C-48C0-9959-E332ECAAD294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72BB3FE6-71E4-47C0-8835-850B4E4FEA7A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26" name="object 11">
              <a:extLst>
                <a:ext uri="{FF2B5EF4-FFF2-40B4-BE49-F238E27FC236}">
                  <a16:creationId xmlns:a16="http://schemas.microsoft.com/office/drawing/2014/main" id="{0F9E6D00-F223-4A71-A3F7-60E5A0A6B838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27" name="object 12">
              <a:extLst>
                <a:ext uri="{FF2B5EF4-FFF2-40B4-BE49-F238E27FC236}">
                  <a16:creationId xmlns:a16="http://schemas.microsoft.com/office/drawing/2014/main" id="{D4EC77C9-50E1-4B3F-B00E-EC24E6474FEA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0014520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5" name="Title 2">
            <a:extLst>
              <a:ext uri="{FF2B5EF4-FFF2-40B4-BE49-F238E27FC236}">
                <a16:creationId xmlns:a16="http://schemas.microsoft.com/office/drawing/2014/main" id="{7A522663-0DBF-0447-8AA1-8D5B49CEBF15}"/>
              </a:ext>
            </a:extLst>
          </p:cNvPr>
          <p:cNvSpPr txBox="1">
            <a:spLocks/>
          </p:cNvSpPr>
          <p:nvPr/>
        </p:nvSpPr>
        <p:spPr bwMode="gray">
          <a:xfrm>
            <a:off x="445658" y="610215"/>
            <a:ext cx="11297039" cy="4502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zczepionka </a:t>
            </a:r>
            <a:r>
              <a:rPr kumimoji="0" lang="pl-PL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irnaty</a:t>
            </a: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3 mikrogramy/dawkę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strukcja przygotowania produktu leczniczego do sto</a:t>
            </a: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wania </a:t>
            </a:r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7E17DF4-6BFA-1B4F-92F6-136A205D28E3}"/>
              </a:ext>
            </a:extLst>
          </p:cNvPr>
          <p:cNvCxnSpPr>
            <a:cxnSpLocks/>
          </p:cNvCxnSpPr>
          <p:nvPr/>
        </p:nvCxnSpPr>
        <p:spPr>
          <a:xfrm>
            <a:off x="533946" y="3702904"/>
            <a:ext cx="11323928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079CD33-B2C1-F8CB-132E-9E384C177D1D}"/>
              </a:ext>
            </a:extLst>
          </p:cNvPr>
          <p:cNvSpPr txBox="1"/>
          <p:nvPr/>
        </p:nvSpPr>
        <p:spPr>
          <a:xfrm>
            <a:off x="334126" y="1292924"/>
            <a:ext cx="107065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pl-PL" sz="1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IESZANIE PRZED ROZCIEŃCZENIEM PRODUKTU LECZNICZEGO COMIRNATY 3 MIKROGRAMY/DAWKĘ KONCENTRAT DO SPORZĄDZANIA DYSPERSJI DO WSTRZYKIWAŃ (NIEMOWLĘTA I DZIECI WWIEKU OD 6 MIESIĘCY DO 4 LAT)</a:t>
            </a:r>
            <a:endParaRPr lang="en-US" sz="14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E4A38A-358E-A222-13FD-1B76D093FE69}"/>
              </a:ext>
            </a:extLst>
          </p:cNvPr>
          <p:cNvSpPr txBox="1"/>
          <p:nvPr/>
        </p:nvSpPr>
        <p:spPr>
          <a:xfrm>
            <a:off x="3395375" y="1903898"/>
            <a:ext cx="7645257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pl-PL" sz="1800" b="0" dirty="0"/>
              <a:t>Odczekać aż rozmrożona fiolka osiągnie temperaturę pokojową i delikatnie odwrócić ją 10 razy przed rozcieńczeniem. Nie wstrząsać.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</a:pPr>
            <a:r>
              <a:rPr lang="pl-PL" sz="1800" b="0" dirty="0"/>
              <a:t>Przed rozcieńczeniem dyspersja może zawierać nieprzejrzyste amorficzne cząstki w kolorze białym do złamanej bieli.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17578D-6AC3-306A-332A-00988948B4FF}"/>
              </a:ext>
            </a:extLst>
          </p:cNvPr>
          <p:cNvSpPr txBox="1"/>
          <p:nvPr/>
        </p:nvSpPr>
        <p:spPr>
          <a:xfrm>
            <a:off x="445658" y="3785948"/>
            <a:ext cx="1156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pl-PL" sz="1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ZCIEŃCZANIE PRODUKTU LECZNICZEGO COMIRNATY 3 MIKROGRAMY/DAWKĘ KONCENTRAT DO SPORZĄDZANIA DYSPERSJI DO WSTRZYKIWAŃ (NIEMOWLĘTA I DZIECI WWIEKU OD 6 MIESIĘCY DO 4 LAT)</a:t>
            </a:r>
            <a:endParaRPr lang="en-US" sz="14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08455D-D112-A9B9-1A8C-7965590D18FF}"/>
              </a:ext>
            </a:extLst>
          </p:cNvPr>
          <p:cNvSpPr txBox="1"/>
          <p:nvPr/>
        </p:nvSpPr>
        <p:spPr>
          <a:xfrm>
            <a:off x="3395375" y="4364747"/>
            <a:ext cx="76452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cs typeface="Arial" panose="020B0604020202020204" pitchFamily="34" charset="0"/>
              </a:rPr>
              <a:t>Rozmrożoną szczepionkę należy rozcieńczyć w oryginalnej fiolce, dodając 2,2 ml 9 mg/ml (0,9%) roztworu chlorku sodu do </a:t>
            </a:r>
            <a:r>
              <a:rPr lang="pl-PL" sz="1800" dirty="0" err="1">
                <a:cs typeface="Arial" panose="020B0604020202020204" pitchFamily="34" charset="0"/>
              </a:rPr>
              <a:t>wstrzykiwań</a:t>
            </a:r>
            <a:r>
              <a:rPr lang="pl-PL" sz="1800" dirty="0">
                <a:cs typeface="Arial" panose="020B0604020202020204" pitchFamily="34" charset="0"/>
              </a:rPr>
              <a:t>, używając igły o grubości 21 G lub cieńszej oraz stosując aseptyczną technikę.</a:t>
            </a:r>
            <a:endParaRPr lang="en-US" dirty="0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45D27F7D-E79F-4634-9BCD-93435C03DF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4158" y="1907840"/>
            <a:ext cx="1222792" cy="162032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BDBC69F6-9C27-485B-A91B-5B0A299DF1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4158" y="4301687"/>
            <a:ext cx="1318628" cy="1619887"/>
          </a:xfrm>
          <a:prstGeom prst="rect">
            <a:avLst/>
          </a:prstGeom>
        </p:spPr>
      </p:pic>
      <p:sp>
        <p:nvSpPr>
          <p:cNvPr id="17" name="pole tekstowe 16">
            <a:extLst>
              <a:ext uri="{FF2B5EF4-FFF2-40B4-BE49-F238E27FC236}">
                <a16:creationId xmlns:a16="http://schemas.microsoft.com/office/drawing/2014/main" id="{19C130BE-BA12-4433-8804-898D7FA89A14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18" name="Grupa 17">
            <a:extLst>
              <a:ext uri="{FF2B5EF4-FFF2-40B4-BE49-F238E27FC236}">
                <a16:creationId xmlns:a16="http://schemas.microsoft.com/office/drawing/2014/main" id="{CB49B68F-8818-40EB-A9DE-B4B13FF275E7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19" name="object 4">
              <a:extLst>
                <a:ext uri="{FF2B5EF4-FFF2-40B4-BE49-F238E27FC236}">
                  <a16:creationId xmlns:a16="http://schemas.microsoft.com/office/drawing/2014/main" id="{F0F4FC82-289D-4969-8558-31717B6AE07F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5">
              <a:extLst>
                <a:ext uri="{FF2B5EF4-FFF2-40B4-BE49-F238E27FC236}">
                  <a16:creationId xmlns:a16="http://schemas.microsoft.com/office/drawing/2014/main" id="{F4B8A1C0-E4B8-46CA-BA9C-03D310DA17D0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7">
              <a:extLst>
                <a:ext uri="{FF2B5EF4-FFF2-40B4-BE49-F238E27FC236}">
                  <a16:creationId xmlns:a16="http://schemas.microsoft.com/office/drawing/2014/main" id="{23A1617F-ED3A-4DF6-8338-2C0B93DFE002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24" name="object 11">
              <a:extLst>
                <a:ext uri="{FF2B5EF4-FFF2-40B4-BE49-F238E27FC236}">
                  <a16:creationId xmlns:a16="http://schemas.microsoft.com/office/drawing/2014/main" id="{9CA002BA-E015-4FE5-A756-157EB60F8CA0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25" name="object 12">
              <a:extLst>
                <a:ext uri="{FF2B5EF4-FFF2-40B4-BE49-F238E27FC236}">
                  <a16:creationId xmlns:a16="http://schemas.microsoft.com/office/drawing/2014/main" id="{D9001E40-CBD6-442D-B05F-48B75091508E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60289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AEC847AD-0768-5848-B78B-3EC436C6137B}"/>
              </a:ext>
            </a:extLst>
          </p:cNvPr>
          <p:cNvSpPr txBox="1">
            <a:spLocks/>
          </p:cNvSpPr>
          <p:nvPr/>
        </p:nvSpPr>
        <p:spPr bwMode="gray">
          <a:xfrm>
            <a:off x="445658" y="609990"/>
            <a:ext cx="11297039" cy="45027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zczepionka </a:t>
            </a:r>
            <a:r>
              <a:rPr kumimoji="0" lang="pl-PL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irnaty</a:t>
            </a: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mikrogramy/dawkę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trukcja przygotowania produktu leczniczego do sto</a:t>
            </a: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wania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FD3BFAC-C69E-4A4E-A5E4-23549D38733A}"/>
              </a:ext>
            </a:extLst>
          </p:cNvPr>
          <p:cNvCxnSpPr>
            <a:cxnSpLocks/>
          </p:cNvCxnSpPr>
          <p:nvPr/>
        </p:nvCxnSpPr>
        <p:spPr>
          <a:xfrm>
            <a:off x="2201651" y="3113091"/>
            <a:ext cx="8366373" cy="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9245F942-1705-1CBF-3526-5E9A4E2A4F4E}"/>
              </a:ext>
            </a:extLst>
          </p:cNvPr>
          <p:cNvSpPr txBox="1"/>
          <p:nvPr/>
        </p:nvSpPr>
        <p:spPr>
          <a:xfrm>
            <a:off x="437349" y="1183963"/>
            <a:ext cx="115691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pl-PL" sz="1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ZCIEŃCZANIE PRODUKTU LECZNICZEGO COMIRNATY 3 MIKROGRAMY/DAWKĘ KONCENTRAT DO SPORZĄDZANIA DYSPERSJI DO WSTRZYKIWAŃ (NIEMOWLĘTA I DZIECI WWIEKU OD 6 MIESIĘCY DO 4 LAT) </a:t>
            </a:r>
            <a:r>
              <a:rPr lang="en-US" sz="1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l-PL" sz="1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kontynuacja</a:t>
            </a:r>
            <a:r>
              <a:rPr lang="en-US" sz="1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4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B06398-26BE-C186-1A4C-8C50368BCB0D}"/>
              </a:ext>
            </a:extLst>
          </p:cNvPr>
          <p:cNvSpPr txBox="1"/>
          <p:nvPr/>
        </p:nvSpPr>
        <p:spPr>
          <a:xfrm>
            <a:off x="2692401" y="1869401"/>
            <a:ext cx="71882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Wyrównać ciśnienie w fiolce przed wyjęciem igły z korka fiolki, pobierając z niej </a:t>
            </a:r>
            <a:r>
              <a:rPr lang="pl-PL" sz="1800" b="1" dirty="0">
                <a:latin typeface="Arial" panose="020B0604020202020204" pitchFamily="34" charset="0"/>
                <a:cs typeface="Arial" panose="020B0604020202020204" pitchFamily="34" charset="0"/>
              </a:rPr>
              <a:t>2,2 ml powietrza </a:t>
            </a: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do pustej strzykawki po rozcieńczalniku.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D783AD-BCDB-5C62-D38D-48F538F8E229}"/>
              </a:ext>
            </a:extLst>
          </p:cNvPr>
          <p:cNvSpPr txBox="1"/>
          <p:nvPr/>
        </p:nvSpPr>
        <p:spPr>
          <a:xfrm>
            <a:off x="2692401" y="3144744"/>
            <a:ext cx="86270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Delikatnie odwrócić fiolkę z rozcieńczoną dyspersją </a:t>
            </a:r>
            <a:r>
              <a:rPr lang="pl-PL" sz="1800" b="1" dirty="0">
                <a:latin typeface="Arial" panose="020B0604020202020204" pitchFamily="34" charset="0"/>
                <a:cs typeface="Arial" panose="020B0604020202020204" pitchFamily="34" charset="0"/>
              </a:rPr>
              <a:t>10 razy</a:t>
            </a: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. Nie wstrząsać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Rozcieńczona szczepionka powinna mieć postać dyspersji w kolorze białym do złamanej bieli, bez widocznych cząstek. Nie używać rozcieńczonej szczepionki, jeśli zawiera cząstki lub zmieniła zabarwienie.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4F86F1-5C5C-9564-7128-66A8330BDFDE}"/>
              </a:ext>
            </a:extLst>
          </p:cNvPr>
          <p:cNvCxnSpPr/>
          <p:nvPr/>
        </p:nvCxnSpPr>
        <p:spPr>
          <a:xfrm>
            <a:off x="2201651" y="4590419"/>
            <a:ext cx="778505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399A370-AFDC-08BA-CDD2-4F03C64E6C37}"/>
              </a:ext>
            </a:extLst>
          </p:cNvPr>
          <p:cNvSpPr txBox="1"/>
          <p:nvPr/>
        </p:nvSpPr>
        <p:spPr>
          <a:xfrm>
            <a:off x="2692401" y="4675098"/>
            <a:ext cx="87947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 rozcieńczeniu na fiolkach należy zapisać odpowiednią datę i godzinę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 rozcieńczeniu przechowywać w temperaturze od </a:t>
            </a:r>
            <a:r>
              <a:rPr lang="pl-PL" sz="18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°C do 30°C </a:t>
            </a:r>
            <a:r>
              <a:rPr lang="pl-PL" sz="18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 zużyć w ciągu </a:t>
            </a:r>
            <a:r>
              <a:rPr lang="pl-PL" sz="18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2 godzin</a:t>
            </a:r>
            <a:r>
              <a:rPr lang="pl-PL" sz="18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8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ie zamrażać rozcieńczonej dyspersji ani nie potrząsać nią. W razie przechowywania w lodówce, przed użyciem odczekać aż rozcieńczona dyspersja </a:t>
            </a:r>
            <a:r>
              <a:rPr lang="pl-PL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iągnie temperaturę pokojową</a:t>
            </a:r>
            <a:r>
              <a:rPr lang="pl-PL" sz="18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42A9EC58-FE4E-495B-AA5E-71E8C90646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6094" y="1707183"/>
            <a:ext cx="1030289" cy="1277089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621D0E7E-780C-4301-9EFD-A4F2BAC83C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2611" y="3138259"/>
            <a:ext cx="1030289" cy="137795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30B18760-ECCA-4796-8DC3-B7DA60374EF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5755" y="4533297"/>
            <a:ext cx="1245557" cy="1514866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4DEAF35A-E70B-4CE5-BBFD-EFA09A7835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9396" y="5759463"/>
            <a:ext cx="1986383" cy="288700"/>
          </a:xfrm>
          <a:prstGeom prst="rect">
            <a:avLst/>
          </a:prstGeom>
        </p:spPr>
      </p:pic>
      <p:sp>
        <p:nvSpPr>
          <p:cNvPr id="23" name="pole tekstowe 22">
            <a:extLst>
              <a:ext uri="{FF2B5EF4-FFF2-40B4-BE49-F238E27FC236}">
                <a16:creationId xmlns:a16="http://schemas.microsoft.com/office/drawing/2014/main" id="{4371804C-994C-406A-B5B3-F3864140F944}"/>
              </a:ext>
            </a:extLst>
          </p:cNvPr>
          <p:cNvSpPr txBox="1"/>
          <p:nvPr/>
        </p:nvSpPr>
        <p:spPr>
          <a:xfrm>
            <a:off x="224286" y="6509574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24" name="Grupa 23">
            <a:extLst>
              <a:ext uri="{FF2B5EF4-FFF2-40B4-BE49-F238E27FC236}">
                <a16:creationId xmlns:a16="http://schemas.microsoft.com/office/drawing/2014/main" id="{C051947F-3BBE-4E8B-AFEF-D4B40B6CD3A1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25" name="object 4">
              <a:extLst>
                <a:ext uri="{FF2B5EF4-FFF2-40B4-BE49-F238E27FC236}">
                  <a16:creationId xmlns:a16="http://schemas.microsoft.com/office/drawing/2014/main" id="{4525E61E-2115-4265-80F9-BCDECB30CA32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5">
              <a:extLst>
                <a:ext uri="{FF2B5EF4-FFF2-40B4-BE49-F238E27FC236}">
                  <a16:creationId xmlns:a16="http://schemas.microsoft.com/office/drawing/2014/main" id="{345406E8-F2A9-4F6A-853B-0EC18DF6DD2B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7">
              <a:extLst>
                <a:ext uri="{FF2B5EF4-FFF2-40B4-BE49-F238E27FC236}">
                  <a16:creationId xmlns:a16="http://schemas.microsoft.com/office/drawing/2014/main" id="{B9014B4D-3AEF-4F68-A6AA-9CE0663B1FAA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28" name="object 11">
              <a:extLst>
                <a:ext uri="{FF2B5EF4-FFF2-40B4-BE49-F238E27FC236}">
                  <a16:creationId xmlns:a16="http://schemas.microsoft.com/office/drawing/2014/main" id="{4D88ECE4-9E13-437B-877E-5D8D9E1C8FC1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29" name="object 12">
              <a:extLst>
                <a:ext uri="{FF2B5EF4-FFF2-40B4-BE49-F238E27FC236}">
                  <a16:creationId xmlns:a16="http://schemas.microsoft.com/office/drawing/2014/main" id="{6E8A2B63-959E-4329-BEED-65D2689A40E4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12332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9" name="Title 2">
            <a:extLst>
              <a:ext uri="{FF2B5EF4-FFF2-40B4-BE49-F238E27FC236}">
                <a16:creationId xmlns:a16="http://schemas.microsoft.com/office/drawing/2014/main" id="{CA5343BC-8C8A-7C45-B4B1-0B47BDCC474E}"/>
              </a:ext>
            </a:extLst>
          </p:cNvPr>
          <p:cNvSpPr txBox="1">
            <a:spLocks/>
          </p:cNvSpPr>
          <p:nvPr/>
        </p:nvSpPr>
        <p:spPr bwMode="gray">
          <a:xfrm>
            <a:off x="514918" y="334400"/>
            <a:ext cx="7789633" cy="7403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zczepionka </a:t>
            </a:r>
            <a:r>
              <a:rPr kumimoji="0" lang="pl-PL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irnaty</a:t>
            </a: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mikrogramy/dawkę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trukcja przygotowania produktu leczniczego do sto</a:t>
            </a: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wania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F644EAE-C4B4-1640-BE47-F2DC74B856F0}"/>
              </a:ext>
            </a:extLst>
          </p:cNvPr>
          <p:cNvSpPr txBox="1"/>
          <p:nvPr/>
        </p:nvSpPr>
        <p:spPr bwMode="gray">
          <a:xfrm>
            <a:off x="3537839" y="1822888"/>
            <a:ext cx="8237973" cy="40780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28600" indent="-2286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1"/>
            </a:lvl1pPr>
            <a:lvl2pPr marL="685800" lvl="1" indent="-2286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0" kern="0" dirty="0">
                <a:solidFill>
                  <a:prstClr val="black"/>
                </a:solidFill>
              </a:rPr>
              <a:t>Po rozcieńczeniu fiolka zawiera </a:t>
            </a:r>
            <a:r>
              <a:rPr lang="pl-PL" sz="1600" kern="0" dirty="0">
                <a:solidFill>
                  <a:prstClr val="black"/>
                </a:solidFill>
              </a:rPr>
              <a:t>2,6 ml</a:t>
            </a:r>
            <a:r>
              <a:rPr lang="pl-PL" sz="1600" b="0" kern="0" dirty="0">
                <a:solidFill>
                  <a:prstClr val="black"/>
                </a:solidFill>
              </a:rPr>
              <a:t>, z których można pobrać </a:t>
            </a:r>
            <a:r>
              <a:rPr lang="pl-PL" sz="1600" kern="0" dirty="0">
                <a:solidFill>
                  <a:prstClr val="black"/>
                </a:solidFill>
              </a:rPr>
              <a:t>10 dawek po 0,2 ml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0" kern="0" dirty="0">
                <a:solidFill>
                  <a:prstClr val="black"/>
                </a:solidFill>
              </a:rPr>
              <a:t>Stosując technikę aseptyczną, przetrzeć korek fiolki, używając jednorazowego, jałowego wacika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0" kern="0" dirty="0">
                <a:solidFill>
                  <a:prstClr val="black"/>
                </a:solidFill>
              </a:rPr>
              <a:t>Pobrać </a:t>
            </a:r>
            <a:r>
              <a:rPr lang="pl-PL" sz="1600" kern="0" dirty="0">
                <a:solidFill>
                  <a:prstClr val="black"/>
                </a:solidFill>
              </a:rPr>
              <a:t>0,2 ml szczepionki </a:t>
            </a:r>
            <a:r>
              <a:rPr lang="pl-PL" sz="1600" kern="0" dirty="0" err="1">
                <a:solidFill>
                  <a:prstClr val="black"/>
                </a:solidFill>
              </a:rPr>
              <a:t>Comirnaty</a:t>
            </a:r>
            <a:r>
              <a:rPr lang="pl-PL" sz="1600" kern="0" dirty="0">
                <a:solidFill>
                  <a:prstClr val="black"/>
                </a:solidFill>
              </a:rPr>
              <a:t> </a:t>
            </a:r>
            <a:r>
              <a:rPr lang="pl-PL" sz="1600" b="0" kern="0" dirty="0">
                <a:solidFill>
                  <a:prstClr val="black"/>
                </a:solidFill>
              </a:rPr>
              <a:t>dla niemowląt i dzieci w wieku od 6 miesięcy do 4 lat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0" kern="0" dirty="0">
                <a:solidFill>
                  <a:prstClr val="black"/>
                </a:solidFill>
              </a:rPr>
              <a:t>Należy używać strzykawek i (lub) igieł z małą przestrzenią martwą, aby pobrać 10 dawek z jednej fiolki. Przestrzeń martwa w zestawie strzykawki i igły z małą przestrzenią martwą powinna wynosić nie więcej niż </a:t>
            </a:r>
            <a:r>
              <a:rPr lang="pl-PL" sz="1600" kern="0" dirty="0">
                <a:solidFill>
                  <a:prstClr val="black"/>
                </a:solidFill>
              </a:rPr>
              <a:t>35 </a:t>
            </a:r>
            <a:r>
              <a:rPr lang="pl-PL" sz="1600" kern="0" dirty="0" err="1">
                <a:solidFill>
                  <a:prstClr val="black"/>
                </a:solidFill>
              </a:rPr>
              <a:t>mikrolitrów</a:t>
            </a:r>
            <a:r>
              <a:rPr lang="pl-PL" sz="1600" b="0" kern="0" dirty="0">
                <a:solidFill>
                  <a:prstClr val="black"/>
                </a:solidFill>
              </a:rPr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0" kern="0" dirty="0">
                <a:solidFill>
                  <a:prstClr val="black"/>
                </a:solidFill>
              </a:rPr>
              <a:t>W razie stosowania standardowych strzykawek i igieł, objętość może być niewystarczająca do pobrania dziesięciu dawek z jednej fiolki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0" kern="0" dirty="0">
                <a:solidFill>
                  <a:prstClr val="black"/>
                </a:solidFill>
              </a:rPr>
              <a:t>Każda dawka musi zawierać </a:t>
            </a:r>
            <a:r>
              <a:rPr lang="pl-PL" sz="1600" kern="0" dirty="0">
                <a:solidFill>
                  <a:prstClr val="black"/>
                </a:solidFill>
              </a:rPr>
              <a:t>0,2 ml szczepionki</a:t>
            </a:r>
            <a:r>
              <a:rPr lang="pl-PL" sz="1600" b="0" kern="0" dirty="0">
                <a:solidFill>
                  <a:prstClr val="black"/>
                </a:solidFill>
              </a:rPr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0" kern="0" dirty="0">
                <a:solidFill>
                  <a:prstClr val="black"/>
                </a:solidFill>
              </a:rPr>
              <a:t>Jeśli ilość szczepionki pozostała w fiolce jest niewystarczająca do zapewnienia pełnej dawki </a:t>
            </a:r>
            <a:r>
              <a:rPr lang="pl-PL" sz="1600" kern="0" dirty="0">
                <a:solidFill>
                  <a:prstClr val="black"/>
                </a:solidFill>
              </a:rPr>
              <a:t>0,2 ml</a:t>
            </a:r>
            <a:r>
              <a:rPr lang="pl-PL" sz="1600" b="0" kern="0" dirty="0">
                <a:solidFill>
                  <a:prstClr val="black"/>
                </a:solidFill>
              </a:rPr>
              <a:t>, fiolkę i wszelkie pozostałości w niej zawarte należy wyrzucić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0" kern="0" dirty="0">
                <a:solidFill>
                  <a:prstClr val="black"/>
                </a:solidFill>
              </a:rPr>
              <a:t>Wszelkie resztki szczepionki niewykorzystane w ciągu </a:t>
            </a:r>
            <a:r>
              <a:rPr lang="pl-PL" sz="1600" kern="0" dirty="0">
                <a:solidFill>
                  <a:prstClr val="black"/>
                </a:solidFill>
              </a:rPr>
              <a:t>12 godzin od rozcieńczenia należy wyrzucić.</a:t>
            </a:r>
            <a:r>
              <a:rPr lang="en-US" sz="1600" kern="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98F1A3E-D74E-2346-8905-EF666571F457}"/>
              </a:ext>
            </a:extLst>
          </p:cNvPr>
          <p:cNvSpPr/>
          <p:nvPr/>
        </p:nvSpPr>
        <p:spPr>
          <a:xfrm>
            <a:off x="266132" y="-938729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88C6FD9D-7C15-4659-A055-72870C4366B9}"/>
              </a:ext>
            </a:extLst>
          </p:cNvPr>
          <p:cNvSpPr txBox="1"/>
          <p:nvPr/>
        </p:nvSpPr>
        <p:spPr>
          <a:xfrm>
            <a:off x="357578" y="1187215"/>
            <a:ext cx="111867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4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ZYGOTOWYWANIE POJEDYNCZYCH DAWEK 0,2 ml PRODUKTU LECZNICZEGO COMIRNATY 3 MIKROGRAMY/DAWKĘ KONCENTRAT DO SPORZĄDZANIA DYSPERSJI DO WSTRZYKIWAŃ (NIEMOWLĘTA I DZIECI W WIEKU OD 6 MIESIĘCY DO 4 LAT) </a:t>
            </a:r>
            <a:r>
              <a:rPr lang="pl-PL" sz="14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72055797-9989-45FF-8B35-A0C5371A92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188" y="1978559"/>
            <a:ext cx="2728325" cy="3238500"/>
          </a:xfrm>
          <a:prstGeom prst="rect">
            <a:avLst/>
          </a:prstGeom>
        </p:spPr>
      </p:pic>
      <p:sp>
        <p:nvSpPr>
          <p:cNvPr id="13" name="pole tekstowe 12">
            <a:extLst>
              <a:ext uri="{FF2B5EF4-FFF2-40B4-BE49-F238E27FC236}">
                <a16:creationId xmlns:a16="http://schemas.microsoft.com/office/drawing/2014/main" id="{42572EE0-1869-49EB-BC01-706755B6411F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14" name="Grupa 13">
            <a:extLst>
              <a:ext uri="{FF2B5EF4-FFF2-40B4-BE49-F238E27FC236}">
                <a16:creationId xmlns:a16="http://schemas.microsoft.com/office/drawing/2014/main" id="{213053C7-C661-4B17-A00D-65E5236B406E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15" name="object 4">
              <a:extLst>
                <a:ext uri="{FF2B5EF4-FFF2-40B4-BE49-F238E27FC236}">
                  <a16:creationId xmlns:a16="http://schemas.microsoft.com/office/drawing/2014/main" id="{ABB82EF5-93F9-4B66-A560-3C4FA163FFAC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5">
              <a:extLst>
                <a:ext uri="{FF2B5EF4-FFF2-40B4-BE49-F238E27FC236}">
                  <a16:creationId xmlns:a16="http://schemas.microsoft.com/office/drawing/2014/main" id="{3928CE12-19A0-48C9-9D7B-B32EAF064C8E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7">
              <a:extLst>
                <a:ext uri="{FF2B5EF4-FFF2-40B4-BE49-F238E27FC236}">
                  <a16:creationId xmlns:a16="http://schemas.microsoft.com/office/drawing/2014/main" id="{8A7C69DF-89F3-499C-8E1A-A37F7C246A28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18" name="object 11">
              <a:extLst>
                <a:ext uri="{FF2B5EF4-FFF2-40B4-BE49-F238E27FC236}">
                  <a16:creationId xmlns:a16="http://schemas.microsoft.com/office/drawing/2014/main" id="{429DB9DE-3765-463C-84ED-205957E50EF1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19" name="object 12">
              <a:extLst>
                <a:ext uri="{FF2B5EF4-FFF2-40B4-BE49-F238E27FC236}">
                  <a16:creationId xmlns:a16="http://schemas.microsoft.com/office/drawing/2014/main" id="{F8C916DC-529D-44F6-B00D-9810100A7C3E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9401441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8">
            <a:extLst>
              <a:ext uri="{FF2B5EF4-FFF2-40B4-BE49-F238E27FC236}">
                <a16:creationId xmlns:a16="http://schemas.microsoft.com/office/drawing/2014/main" id="{47DB09D9-C7D3-4A9C-941E-7098B538D06B}"/>
              </a:ext>
            </a:extLst>
          </p:cNvPr>
          <p:cNvSpPr/>
          <p:nvPr/>
        </p:nvSpPr>
        <p:spPr bwMode="gray">
          <a:xfrm>
            <a:off x="591708" y="1333150"/>
            <a:ext cx="10582470" cy="635112"/>
          </a:xfrm>
          <a:prstGeom prst="rect">
            <a:avLst/>
          </a:prstGeom>
          <a:solidFill>
            <a:srgbClr val="5C2A34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54864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  <a:buClr>
                <a:srgbClr val="00A94F"/>
              </a:buClr>
              <a:buSzPct val="90000"/>
              <a:defRPr/>
            </a:pPr>
            <a:r>
              <a:rPr lang="pl-PL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sób podawania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EE0ADB-6DEB-43AF-83D8-EF6D7390758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1739" y="232103"/>
            <a:ext cx="10515600" cy="900182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zczepionka </a:t>
            </a:r>
            <a:r>
              <a:rPr kumimoji="0" lang="pl-PL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irnaty</a:t>
            </a: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mikrogramy/dawkę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osób podawania produktu leczniczego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2C55935-D2D3-4959-B288-CDAAF953944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12420" y="1346400"/>
            <a:ext cx="640080" cy="640080"/>
            <a:chOff x="85069" y="713840"/>
            <a:chExt cx="685800" cy="6858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A81242A-F6EE-4A34-88AC-715B3E75B0C4}"/>
                </a:ext>
              </a:extLst>
            </p:cNvPr>
            <p:cNvSpPr/>
            <p:nvPr/>
          </p:nvSpPr>
          <p:spPr bwMode="gray">
            <a:xfrm>
              <a:off x="85069" y="713840"/>
              <a:ext cx="685800" cy="68580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8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A94F"/>
                </a:buClr>
                <a:buSzPct val="90000"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" name="Graphic 8" descr="Needle">
              <a:extLst>
                <a:ext uri="{FF2B5EF4-FFF2-40B4-BE49-F238E27FC236}">
                  <a16:creationId xmlns:a16="http://schemas.microsoft.com/office/drawing/2014/main" id="{08ECC736-B72B-4CF6-BCC9-A11BE282F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80768" y="780964"/>
              <a:ext cx="522979" cy="522979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D267F00-D56A-8142-B94C-97220F8F145A}"/>
              </a:ext>
            </a:extLst>
          </p:cNvPr>
          <p:cNvSpPr txBox="1"/>
          <p:nvPr/>
        </p:nvSpPr>
        <p:spPr bwMode="gray">
          <a:xfrm>
            <a:off x="645795" y="2200595"/>
            <a:ext cx="10450829" cy="309828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228600" indent="-228600">
              <a:lnSpc>
                <a:spcPct val="94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200"/>
            </a:lvl1pPr>
            <a:lvl2pPr marL="685800" lvl="1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/>
            </a:lvl2pPr>
            <a:lvl3pPr marL="1143000" lvl="2" indent="-228600">
              <a:lnSpc>
                <a:spcPct val="94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</a:lvl3pPr>
            <a:lvl4pPr marL="1600200" lvl="3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4pPr>
            <a:lvl5pPr marL="2057400" lvl="4" indent="-228600">
              <a:lnSpc>
                <a:spcPct val="94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pl-PL" sz="1600" dirty="0"/>
              <a:t>Każda dawka musi zawierać 0,2 ml szczepionki.</a:t>
            </a:r>
          </a:p>
          <a:p>
            <a:r>
              <a:rPr lang="pl-PL" sz="1600" dirty="0"/>
              <a:t>Jeśli ilość szczepionki pozostała w fiolce jest niewystarczająca do zapewnienia pełnej dawki 0,2 ml, fiolkę i wszelkie pozostałości w niej zawarte należy wyrzucić.</a:t>
            </a:r>
          </a:p>
          <a:p>
            <a:r>
              <a:rPr lang="pl-PL" sz="1600" dirty="0"/>
              <a:t>Nie należy gromadzić pozostałości szczepionki z kilku fiolek.</a:t>
            </a:r>
          </a:p>
          <a:p>
            <a:r>
              <a:rPr lang="pl-PL" sz="1600" dirty="0"/>
              <a:t>U niemowląt w wieku od 6 do mniej niż 12 miesięcy zalecanym miejscem wstrzyknięcia jest przednio-boczna strona uda. U osób w wieku od 1 roku zalecane miejsce wstrzyknięcia to przednio-boczna strona uda lub mięsień naramienny.</a:t>
            </a:r>
          </a:p>
          <a:p>
            <a:r>
              <a:rPr lang="pl-PL" sz="1600" dirty="0"/>
              <a:t>Nie wstrzykiwać szczepionki </a:t>
            </a:r>
            <a:r>
              <a:rPr lang="pl-PL" sz="1600" dirty="0" err="1"/>
              <a:t>donaczyniowo</a:t>
            </a:r>
            <a:r>
              <a:rPr lang="pl-PL" sz="1600" dirty="0"/>
              <a:t>, podskórnie lub śródskórnie.</a:t>
            </a:r>
          </a:p>
          <a:p>
            <a:r>
              <a:rPr lang="pl-PL" sz="1600" dirty="0"/>
              <a:t>Szczepionki nie należy mieszać w tej samej strzykawce z innymi szczepionkami lub produktami leczniczymi.</a:t>
            </a:r>
            <a:endParaRPr lang="en-US" sz="1600" dirty="0"/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43736828-6ACE-416D-A5D9-216ADEBCA548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26" name="Grupa 25">
            <a:extLst>
              <a:ext uri="{FF2B5EF4-FFF2-40B4-BE49-F238E27FC236}">
                <a16:creationId xmlns:a16="http://schemas.microsoft.com/office/drawing/2014/main" id="{FC26908E-8FF7-420B-B781-19D66DC022A0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27" name="object 4">
              <a:extLst>
                <a:ext uri="{FF2B5EF4-FFF2-40B4-BE49-F238E27FC236}">
                  <a16:creationId xmlns:a16="http://schemas.microsoft.com/office/drawing/2014/main" id="{5154F552-1552-49DD-B285-1AA0D2BB5C1C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5">
              <a:extLst>
                <a:ext uri="{FF2B5EF4-FFF2-40B4-BE49-F238E27FC236}">
                  <a16:creationId xmlns:a16="http://schemas.microsoft.com/office/drawing/2014/main" id="{FC811B77-4E68-4F98-BE65-E0280F2F55F3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7">
              <a:extLst>
                <a:ext uri="{FF2B5EF4-FFF2-40B4-BE49-F238E27FC236}">
                  <a16:creationId xmlns:a16="http://schemas.microsoft.com/office/drawing/2014/main" id="{056B4068-B99D-428F-8B06-8906712B8C45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31" name="object 11">
              <a:extLst>
                <a:ext uri="{FF2B5EF4-FFF2-40B4-BE49-F238E27FC236}">
                  <a16:creationId xmlns:a16="http://schemas.microsoft.com/office/drawing/2014/main" id="{1E157CFD-A091-4E0A-89E6-92240F9CC6FD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32" name="object 12">
              <a:extLst>
                <a:ext uri="{FF2B5EF4-FFF2-40B4-BE49-F238E27FC236}">
                  <a16:creationId xmlns:a16="http://schemas.microsoft.com/office/drawing/2014/main" id="{0416DC47-A0CF-4AB7-903E-C6D292025196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8909778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>
            <a:extLst>
              <a:ext uri="{FF2B5EF4-FFF2-40B4-BE49-F238E27FC236}">
                <a16:creationId xmlns:a16="http://schemas.microsoft.com/office/drawing/2014/main" id="{B50FB8B7-87C2-4228-8103-60234DCF067B}"/>
              </a:ext>
            </a:extLst>
          </p:cNvPr>
          <p:cNvSpPr txBox="1"/>
          <p:nvPr/>
        </p:nvSpPr>
        <p:spPr>
          <a:xfrm>
            <a:off x="1050106" y="2257336"/>
            <a:ext cx="940834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400" dirty="0"/>
              <a:t>19 października 2022 została zarejestrowana nowa postać: </a:t>
            </a:r>
            <a:r>
              <a:rPr lang="pl-PL" sz="2400" dirty="0" err="1"/>
              <a:t>Comirnaty</a:t>
            </a:r>
            <a:r>
              <a:rPr lang="pl-PL" sz="2400" dirty="0"/>
              <a:t> 3 mikrogramy/dawkę koncentrat do sporządzania dyspersji do </a:t>
            </a:r>
            <a:r>
              <a:rPr lang="pl-PL" sz="2400" dirty="0" err="1"/>
              <a:t>wstrzykiwań</a:t>
            </a:r>
            <a:r>
              <a:rPr lang="pl-PL" sz="2400" dirty="0"/>
              <a:t>. Szczepionka mRNA przeciw COVID-19 (ze zmodyfikowanymi nukleozydami)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6B532993-D4DA-433F-8F94-ED8127B28284}"/>
              </a:ext>
            </a:extLst>
          </p:cNvPr>
          <p:cNvSpPr txBox="1"/>
          <p:nvPr/>
        </p:nvSpPr>
        <p:spPr>
          <a:xfrm>
            <a:off x="271462" y="6234410"/>
            <a:ext cx="116490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European Medicines Agency</a:t>
            </a:r>
            <a:r>
              <a:rPr lang="pl-PL" sz="10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. 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EMA recommends approval of Comirnaty and Spikevax COVID-19 vaccines for children from 6 months of age</a:t>
            </a:r>
            <a:r>
              <a:rPr lang="pl-PL" sz="10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: https://www.ema.europa.eu/en/news/ema-recommends-approval-comirnaty-spikevax-covid-19-vaccines-children-6-months-age</a:t>
            </a:r>
            <a:endParaRPr lang="pl-PL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5451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9987FA37-CE24-457B-87F4-D2CE7FC190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9987FA37-CE24-457B-87F4-D2CE7FC19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EEE1270-4F66-4073-B340-98B0C802E3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9" name="Title 1">
            <a:extLst>
              <a:ext uri="{FF2B5EF4-FFF2-40B4-BE49-F238E27FC236}">
                <a16:creationId xmlns:a16="http://schemas.microsoft.com/office/drawing/2014/main" id="{8D355B63-BA9C-7D45-86E4-9F3D1FFFC5E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32922" y="126074"/>
            <a:ext cx="9889977" cy="1226364"/>
          </a:xfrm>
        </p:spPr>
        <p:txBody>
          <a:bodyPr>
            <a:noAutofit/>
          </a:bodyPr>
          <a:lstStyle/>
          <a:p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zczepionka </a:t>
            </a:r>
            <a:r>
              <a:rPr kumimoji="0" lang="pl-PL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irnaty</a:t>
            </a: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3 mikrogramy/dawkę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chemat podawania produktu leczniczego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A0FD5EE-4675-424C-82CB-7BD7D8F626BF}"/>
              </a:ext>
            </a:extLst>
          </p:cNvPr>
          <p:cNvSpPr/>
          <p:nvPr/>
        </p:nvSpPr>
        <p:spPr bwMode="gray">
          <a:xfrm>
            <a:off x="752962" y="1379106"/>
            <a:ext cx="10341183" cy="640080"/>
          </a:xfrm>
          <a:prstGeom prst="rect">
            <a:avLst/>
          </a:prstGeom>
          <a:solidFill>
            <a:srgbClr val="5C2A34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548640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A94F"/>
              </a:buClr>
              <a:buSzPct val="90000"/>
              <a:buFontTx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emat podawania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C00B158-D5FA-D44C-A3B9-D01E0EF030D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32922" y="1379106"/>
            <a:ext cx="640080" cy="640080"/>
            <a:chOff x="85069" y="713840"/>
            <a:chExt cx="685800" cy="6858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9E8868F-AD59-B041-A5FD-65785D26AE4C}"/>
                </a:ext>
              </a:extLst>
            </p:cNvPr>
            <p:cNvSpPr/>
            <p:nvPr/>
          </p:nvSpPr>
          <p:spPr bwMode="gray">
            <a:xfrm>
              <a:off x="85069" y="713840"/>
              <a:ext cx="685800" cy="685800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5C2A34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A94F"/>
                </a:buClr>
                <a:buSzPct val="90000"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5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63" name="Graphic 62" descr="Needle">
              <a:extLst>
                <a:ext uri="{FF2B5EF4-FFF2-40B4-BE49-F238E27FC236}">
                  <a16:creationId xmlns:a16="http://schemas.microsoft.com/office/drawing/2014/main" id="{C8AD3026-9759-6345-A193-A27191417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 bwMode="gray">
            <a:xfrm>
              <a:off x="180768" y="780964"/>
              <a:ext cx="522979" cy="522979"/>
            </a:xfrm>
            <a:prstGeom prst="rect">
              <a:avLst/>
            </a:prstGeom>
          </p:spPr>
        </p:pic>
      </p:grpSp>
      <p:pic>
        <p:nvPicPr>
          <p:cNvPr id="14" name="Picture 43">
            <a:extLst>
              <a:ext uri="{FF2B5EF4-FFF2-40B4-BE49-F238E27FC236}">
                <a16:creationId xmlns:a16="http://schemas.microsoft.com/office/drawing/2014/main" id="{97869C10-7167-4D74-9425-34339A17EB4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 bwMode="gray">
          <a:xfrm>
            <a:off x="454200" y="2700609"/>
            <a:ext cx="1112309" cy="2294138"/>
          </a:xfrm>
          <a:prstGeom prst="rect">
            <a:avLst/>
          </a:prstGeom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6C30CC46-2119-477C-8057-7397E8BC8BE0}"/>
              </a:ext>
            </a:extLst>
          </p:cNvPr>
          <p:cNvSpPr txBox="1"/>
          <p:nvPr/>
        </p:nvSpPr>
        <p:spPr>
          <a:xfrm>
            <a:off x="1675846" y="2963422"/>
            <a:ext cx="3074583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8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" sz="36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3 µg</a:t>
            </a:r>
            <a:endParaRPr kumimoji="0" sz="36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" sz="28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wybrany poziom dawkowania</a:t>
            </a:r>
            <a:endParaRPr kumimoji="0" sz="28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31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" sz="20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(kasztanowe wieczko i etykieta)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D237845C-F836-48E0-A5B2-CBEFCA79EFEC}"/>
              </a:ext>
            </a:extLst>
          </p:cNvPr>
          <p:cNvSpPr/>
          <p:nvPr/>
        </p:nvSpPr>
        <p:spPr>
          <a:xfrm>
            <a:off x="4622154" y="2558182"/>
            <a:ext cx="883295" cy="2578992"/>
          </a:xfrm>
          <a:custGeom>
            <a:avLst/>
            <a:gdLst/>
            <a:ahLst/>
            <a:cxnLst/>
            <a:rect l="l" t="t" r="r" b="b"/>
            <a:pathLst>
              <a:path w="853439" h="3525520">
                <a:moveTo>
                  <a:pt x="128016" y="0"/>
                </a:moveTo>
                <a:lnTo>
                  <a:pt x="0" y="0"/>
                </a:lnTo>
                <a:lnTo>
                  <a:pt x="725424" y="1762760"/>
                </a:lnTo>
                <a:lnTo>
                  <a:pt x="0" y="3525520"/>
                </a:lnTo>
                <a:lnTo>
                  <a:pt x="128016" y="3525520"/>
                </a:lnTo>
                <a:lnTo>
                  <a:pt x="853440" y="1762760"/>
                </a:lnTo>
                <a:lnTo>
                  <a:pt x="128016" y="0"/>
                </a:lnTo>
                <a:close/>
              </a:path>
            </a:pathLst>
          </a:custGeom>
          <a:solidFill>
            <a:srgbClr val="800000"/>
          </a:solidFill>
          <a:ln>
            <a:solidFill>
              <a:srgbClr val="9900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7">
            <a:extLst>
              <a:ext uri="{FF2B5EF4-FFF2-40B4-BE49-F238E27FC236}">
                <a16:creationId xmlns:a16="http://schemas.microsoft.com/office/drawing/2014/main" id="{61520B34-CEF6-4A87-8886-EB6018CB504F}"/>
              </a:ext>
            </a:extLst>
          </p:cNvPr>
          <p:cNvSpPr txBox="1"/>
          <p:nvPr/>
        </p:nvSpPr>
        <p:spPr>
          <a:xfrm>
            <a:off x="5710037" y="2558182"/>
            <a:ext cx="6481963" cy="27084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7505" marR="5080" lvl="0" indent="-34480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8140" algn="l"/>
              </a:tabLst>
              <a:defRPr/>
            </a:pPr>
            <a:r>
              <a:rPr kumimoji="0" lang="p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Cykl szczepienia podstawowego składa się z </a:t>
            </a:r>
            <a:r>
              <a:rPr kumimoji="0" lang="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3 dawek (0,2 ml każda dawka)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57505" marR="970915" lvl="0" indent="-344805" algn="l" defTabSz="91440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8140" algn="l"/>
              </a:tabLst>
              <a:defRPr/>
            </a:pPr>
            <a:r>
              <a:rPr kumimoji="0" lang="p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Dwie dawki w odstępie </a:t>
            </a:r>
            <a:r>
              <a:rPr kumimoji="0" lang="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3 tygodni</a:t>
            </a:r>
            <a:r>
              <a:rPr kumimoji="0" lang="p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 a następnie trzecia dawka po co najmniej </a:t>
            </a:r>
            <a:r>
              <a:rPr kumimoji="0" lang="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8 tygodniach</a:t>
            </a:r>
            <a:r>
              <a:rPr kumimoji="0" lang="p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 od podania drugiej dawki</a:t>
            </a:r>
          </a:p>
          <a:p>
            <a:pPr marL="357505" marR="970915" lvl="0" indent="-344805" algn="l" defTabSz="914400" rtl="0" eaLnBrk="1" fontAlgn="auto" latinLnBrk="0" hangingPunct="1">
              <a:lnSpc>
                <a:spcPct val="100000"/>
              </a:lnSpc>
              <a:spcBef>
                <a:spcPts val="176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8140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Jeżeli pomiędzy dawkami cyklu szczepienia dziecko </a:t>
            </a: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ukończy 5 lat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, powinno dokończyć serię na poziomie </a:t>
            </a: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tej samej dawki 3 mikrogramy</a:t>
            </a: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.</a:t>
            </a:r>
            <a:endParaRPr kumimoji="0" lang="pl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7DBBB834-43FF-4821-85EC-C82F90380F0F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19" name="Grupa 18">
            <a:extLst>
              <a:ext uri="{FF2B5EF4-FFF2-40B4-BE49-F238E27FC236}">
                <a16:creationId xmlns:a16="http://schemas.microsoft.com/office/drawing/2014/main" id="{F77593E1-0D06-4435-A98B-9A63E168F92E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DC097F73-B46E-48D6-87C3-18DD98B3993F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78837229-62A6-41B8-84FB-6BDB5EDEA459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7">
              <a:extLst>
                <a:ext uri="{FF2B5EF4-FFF2-40B4-BE49-F238E27FC236}">
                  <a16:creationId xmlns:a16="http://schemas.microsoft.com/office/drawing/2014/main" id="{FECA962A-C8BE-4415-B39D-2E2C596D1AE8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25" name="object 11">
              <a:extLst>
                <a:ext uri="{FF2B5EF4-FFF2-40B4-BE49-F238E27FC236}">
                  <a16:creationId xmlns:a16="http://schemas.microsoft.com/office/drawing/2014/main" id="{6CBB48DE-E1EE-4003-925D-D2F32B32617A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26" name="object 12">
              <a:extLst>
                <a:ext uri="{FF2B5EF4-FFF2-40B4-BE49-F238E27FC236}">
                  <a16:creationId xmlns:a16="http://schemas.microsoft.com/office/drawing/2014/main" id="{9B85F78D-5D22-4777-87D5-0253D3ACEF04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227534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ADC68EC7-D7AD-4610-B2DF-33A3F090D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004" y="318112"/>
            <a:ext cx="10686734" cy="676134"/>
          </a:xfrm>
        </p:spPr>
        <p:txBody>
          <a:bodyPr>
            <a:noAutofit/>
          </a:bodyPr>
          <a:lstStyle/>
          <a:p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zczepionka </a:t>
            </a:r>
            <a:r>
              <a:rPr kumimoji="0" lang="pl-PL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irnaty</a:t>
            </a:r>
            <a:r>
              <a:rPr kumimoji="0" lang="pl-PL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3 mikrogramy/dawkę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pl-PL" sz="2000" b="0" i="1" u="none" strike="noStrike" kern="1200" cap="none" spc="0" normalizeH="0" baseline="0" noProof="0" dirty="0">
                <a:ln>
                  <a:noFill/>
                </a:ln>
                <a:solidFill>
                  <a:srgbClr val="5C2A3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chemat podawania produktu leczniczego</a:t>
            </a:r>
            <a:endParaRPr lang="pl-PL" sz="2400" dirty="0"/>
          </a:p>
        </p:txBody>
      </p:sp>
      <p:grpSp>
        <p:nvGrpSpPr>
          <p:cNvPr id="2" name="Grupa 1">
            <a:extLst>
              <a:ext uri="{FF2B5EF4-FFF2-40B4-BE49-F238E27FC236}">
                <a16:creationId xmlns:a16="http://schemas.microsoft.com/office/drawing/2014/main" id="{FEAB7DD7-D82F-455B-9585-1A987B8336CF}"/>
              </a:ext>
            </a:extLst>
          </p:cNvPr>
          <p:cNvGrpSpPr/>
          <p:nvPr/>
        </p:nvGrpSpPr>
        <p:grpSpPr>
          <a:xfrm>
            <a:off x="2725068" y="2478939"/>
            <a:ext cx="6459359" cy="1731579"/>
            <a:chOff x="1503911" y="2316081"/>
            <a:chExt cx="6459359" cy="1731579"/>
          </a:xfrm>
        </p:grpSpPr>
        <p:sp>
          <p:nvSpPr>
            <p:cNvPr id="72" name="Rectangle 78">
              <a:extLst>
                <a:ext uri="{FF2B5EF4-FFF2-40B4-BE49-F238E27FC236}">
                  <a16:creationId xmlns:a16="http://schemas.microsoft.com/office/drawing/2014/main" id="{CC477571-DF21-4640-BAFF-D00FA502B61C}"/>
                </a:ext>
              </a:extLst>
            </p:cNvPr>
            <p:cNvSpPr/>
            <p:nvPr/>
          </p:nvSpPr>
          <p:spPr bwMode="gray">
            <a:xfrm>
              <a:off x="1503911" y="2316081"/>
              <a:ext cx="6459359" cy="17185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cxnSp>
          <p:nvCxnSpPr>
            <p:cNvPr id="74" name="Straight Arrow Connector 7">
              <a:extLst>
                <a:ext uri="{FF2B5EF4-FFF2-40B4-BE49-F238E27FC236}">
                  <a16:creationId xmlns:a16="http://schemas.microsoft.com/office/drawing/2014/main" id="{6A59EB07-9812-4B07-A760-CC74780F592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24759" y="2867508"/>
              <a:ext cx="876407" cy="0"/>
            </a:xfrm>
            <a:prstGeom prst="straightConnector1">
              <a:avLst/>
            </a:prstGeom>
            <a:noFill/>
            <a:ln w="28575" cap="rnd">
              <a:solidFill>
                <a:schemeClr val="tx1"/>
              </a:solidFill>
              <a:prstDash val="solid"/>
              <a:round/>
              <a:headEnd/>
              <a:tailEnd type="triangle"/>
            </a:ln>
            <a:effectLst/>
          </p:spPr>
        </p:cxnSp>
        <p:cxnSp>
          <p:nvCxnSpPr>
            <p:cNvPr id="75" name="Straight Arrow Connector 13">
              <a:extLst>
                <a:ext uri="{FF2B5EF4-FFF2-40B4-BE49-F238E27FC236}">
                  <a16:creationId xmlns:a16="http://schemas.microsoft.com/office/drawing/2014/main" id="{1BAB4591-C730-4709-BB23-C822BC555BCC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6096605" y="2867508"/>
              <a:ext cx="780549" cy="6747"/>
            </a:xfrm>
            <a:prstGeom prst="straightConnector1">
              <a:avLst/>
            </a:prstGeom>
            <a:noFill/>
            <a:ln w="28575" cap="rnd">
              <a:solidFill>
                <a:schemeClr val="tx1"/>
              </a:solidFill>
              <a:prstDash val="solid"/>
              <a:round/>
              <a:headEnd/>
              <a:tailEnd type="triangle"/>
            </a:ln>
            <a:effectLst/>
          </p:spPr>
        </p:cxnSp>
        <p:sp>
          <p:nvSpPr>
            <p:cNvPr id="78" name="TextBox 30">
              <a:extLst>
                <a:ext uri="{FF2B5EF4-FFF2-40B4-BE49-F238E27FC236}">
                  <a16:creationId xmlns:a16="http://schemas.microsoft.com/office/drawing/2014/main" id="{B420C027-3C80-4882-9D45-3846CA0FC0F9}"/>
                </a:ext>
              </a:extLst>
            </p:cNvPr>
            <p:cNvSpPr txBox="1"/>
            <p:nvPr/>
          </p:nvSpPr>
          <p:spPr bwMode="gray">
            <a:xfrm>
              <a:off x="4575655" y="2528189"/>
              <a:ext cx="914400" cy="289627"/>
            </a:xfrm>
            <a:prstGeom prst="rect">
              <a:avLst/>
            </a:prstGeom>
          </p:spPr>
          <p:txBody>
            <a:bodyPr wrap="none" lIns="45720" tIns="45720" rIns="45720" bIns="4572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 </a:t>
              </a: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ygodni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TextBox 35">
              <a:extLst>
                <a:ext uri="{FF2B5EF4-FFF2-40B4-BE49-F238E27FC236}">
                  <a16:creationId xmlns:a16="http://schemas.microsoft.com/office/drawing/2014/main" id="{BC730ECD-70B6-4E79-A33F-42EA1D719C3F}"/>
                </a:ext>
              </a:extLst>
            </p:cNvPr>
            <p:cNvSpPr txBox="1"/>
            <p:nvPr/>
          </p:nvSpPr>
          <p:spPr bwMode="gray">
            <a:xfrm>
              <a:off x="5951705" y="2502765"/>
              <a:ext cx="914400" cy="289627"/>
            </a:xfrm>
            <a:prstGeom prst="rect">
              <a:avLst/>
            </a:prstGeom>
          </p:spPr>
          <p:txBody>
            <a:bodyPr wrap="none" lIns="45720" tIns="45720" rIns="45720" bIns="4572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+mn-cs"/>
                </a:rPr>
                <a:t>≥</a:t>
              </a: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8 tygodni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Left Brace 38">
              <a:extLst>
                <a:ext uri="{FF2B5EF4-FFF2-40B4-BE49-F238E27FC236}">
                  <a16:creationId xmlns:a16="http://schemas.microsoft.com/office/drawing/2014/main" id="{66A36281-3194-4E69-B39B-997EC29D6032}"/>
                </a:ext>
              </a:extLst>
            </p:cNvPr>
            <p:cNvSpPr/>
            <p:nvPr/>
          </p:nvSpPr>
          <p:spPr bwMode="gray">
            <a:xfrm rot="16200000">
              <a:off x="5637811" y="2007212"/>
              <a:ext cx="210521" cy="2712936"/>
            </a:xfrm>
            <a:prstGeom prst="leftBrace">
              <a:avLst>
                <a:gd name="adj1" fmla="val 0"/>
                <a:gd name="adj2" fmla="val 48680"/>
              </a:avLst>
            </a:pr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TextBox 39">
              <a:extLst>
                <a:ext uri="{FF2B5EF4-FFF2-40B4-BE49-F238E27FC236}">
                  <a16:creationId xmlns:a16="http://schemas.microsoft.com/office/drawing/2014/main" id="{934496CC-B1FF-4B80-95D1-002B123A52F6}"/>
                </a:ext>
              </a:extLst>
            </p:cNvPr>
            <p:cNvSpPr txBox="1"/>
            <p:nvPr/>
          </p:nvSpPr>
          <p:spPr bwMode="gray">
            <a:xfrm>
              <a:off x="4342867" y="3512129"/>
              <a:ext cx="2884266" cy="535531"/>
            </a:xfrm>
            <a:prstGeom prst="rect">
              <a:avLst/>
            </a:prstGeom>
          </p:spPr>
          <p:txBody>
            <a:bodyPr wrap="square" lIns="45720" tIns="45720" rIns="45720" bIns="4572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zczepienie podstawowe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 d</a:t>
              </a:r>
              <a:r>
                <a:rPr kumimoji="0" lang="pl-PL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wki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TextBox 51">
              <a:extLst>
                <a:ext uri="{FF2B5EF4-FFF2-40B4-BE49-F238E27FC236}">
                  <a16:creationId xmlns:a16="http://schemas.microsoft.com/office/drawing/2014/main" id="{1B88E4D7-8715-4F36-A3DA-0DF1119CCFA9}"/>
                </a:ext>
              </a:extLst>
            </p:cNvPr>
            <p:cNvSpPr txBox="1"/>
            <p:nvPr/>
          </p:nvSpPr>
          <p:spPr bwMode="gray">
            <a:xfrm>
              <a:off x="1648896" y="2591034"/>
              <a:ext cx="2399713" cy="719171"/>
            </a:xfrm>
            <a:prstGeom prst="rect">
              <a:avLst/>
            </a:prstGeom>
          </p:spPr>
          <p:txBody>
            <a:bodyPr wrap="square" lIns="45720" tIns="45720" rIns="45720" bIns="4572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Cambria Math" panose="02040503050406030204" pitchFamily="18" charset="0"/>
                  <a:cs typeface="Arial" panose="020B0604020202020204" pitchFamily="34" charset="0"/>
                </a:rPr>
                <a:t>6 miesięcy – 4 lata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 </a:t>
              </a:r>
              <a:r>
                <a:rPr kumimoji="0" lang="el-G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μ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/d</a:t>
              </a:r>
              <a:r>
                <a:rPr kumimoji="0" lang="pl-PL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wkę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95" name="Oval 68">
              <a:extLst>
                <a:ext uri="{FF2B5EF4-FFF2-40B4-BE49-F238E27FC236}">
                  <a16:creationId xmlns:a16="http://schemas.microsoft.com/office/drawing/2014/main" id="{F463A947-A52C-4CBA-97F2-E2CDB7A33B02}"/>
                </a:ext>
              </a:extLst>
            </p:cNvPr>
            <p:cNvSpPr/>
            <p:nvPr/>
          </p:nvSpPr>
          <p:spPr bwMode="gray">
            <a:xfrm>
              <a:off x="6914136" y="2623632"/>
              <a:ext cx="484632" cy="484632"/>
            </a:xfrm>
            <a:prstGeom prst="ellipse">
              <a:avLst/>
            </a:prstGeom>
            <a:noFill/>
            <a:ln w="28575" cap="flat" cmpd="sng" algn="ctr">
              <a:solidFill>
                <a:srgbClr val="99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93" name="Oval 68">
              <a:extLst>
                <a:ext uri="{FF2B5EF4-FFF2-40B4-BE49-F238E27FC236}">
                  <a16:creationId xmlns:a16="http://schemas.microsoft.com/office/drawing/2014/main" id="{BCDD727E-A5E8-4B86-B86F-75870A95ABE3}"/>
                </a:ext>
              </a:extLst>
            </p:cNvPr>
            <p:cNvSpPr/>
            <p:nvPr/>
          </p:nvSpPr>
          <p:spPr bwMode="gray">
            <a:xfrm>
              <a:off x="5516115" y="2634857"/>
              <a:ext cx="484632" cy="484632"/>
            </a:xfrm>
            <a:prstGeom prst="ellipse">
              <a:avLst/>
            </a:prstGeom>
            <a:noFill/>
            <a:ln w="28575" cap="flat" cmpd="sng" algn="ctr">
              <a:solidFill>
                <a:srgbClr val="99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sp>
          <p:nvSpPr>
            <p:cNvPr id="91" name="Oval 68">
              <a:extLst>
                <a:ext uri="{FF2B5EF4-FFF2-40B4-BE49-F238E27FC236}">
                  <a16:creationId xmlns:a16="http://schemas.microsoft.com/office/drawing/2014/main" id="{E88EFB34-C300-4563-854C-48C4DB8C37A1}"/>
                </a:ext>
              </a:extLst>
            </p:cNvPr>
            <p:cNvSpPr/>
            <p:nvPr/>
          </p:nvSpPr>
          <p:spPr bwMode="gray">
            <a:xfrm>
              <a:off x="4083582" y="2625192"/>
              <a:ext cx="484632" cy="484632"/>
            </a:xfrm>
            <a:prstGeom prst="ellipse">
              <a:avLst/>
            </a:prstGeom>
            <a:noFill/>
            <a:ln w="28575" cap="flat" cmpd="sng" algn="ctr">
              <a:solidFill>
                <a:srgbClr val="99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ED7D31"/>
                </a:buClr>
                <a:buSzPct val="90000"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endParaRPr>
            </a:p>
          </p:txBody>
        </p:sp>
        <p:pic>
          <p:nvPicPr>
            <p:cNvPr id="47" name="Picture 13">
              <a:extLst>
                <a:ext uri="{FF2B5EF4-FFF2-40B4-BE49-F238E27FC236}">
                  <a16:creationId xmlns:a16="http://schemas.microsoft.com/office/drawing/2014/main" id="{BB0C8D31-0709-4186-B06C-809661D16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39414" y="2697204"/>
              <a:ext cx="238034" cy="365760"/>
            </a:xfrm>
            <a:prstGeom prst="rect">
              <a:avLst/>
            </a:prstGeom>
          </p:spPr>
        </p:pic>
        <p:pic>
          <p:nvPicPr>
            <p:cNvPr id="48" name="Picture 13">
              <a:extLst>
                <a:ext uri="{FF2B5EF4-FFF2-40B4-BE49-F238E27FC236}">
                  <a16:creationId xmlns:a16="http://schemas.microsoft.com/office/drawing/2014/main" id="{3A1A77F2-A79F-4A38-A915-D0A033CE0C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8638" y="2682341"/>
              <a:ext cx="238034" cy="365760"/>
            </a:xfrm>
            <a:prstGeom prst="rect">
              <a:avLst/>
            </a:prstGeom>
          </p:spPr>
        </p:pic>
        <p:pic>
          <p:nvPicPr>
            <p:cNvPr id="49" name="Picture 13">
              <a:extLst>
                <a:ext uri="{FF2B5EF4-FFF2-40B4-BE49-F238E27FC236}">
                  <a16:creationId xmlns:a16="http://schemas.microsoft.com/office/drawing/2014/main" id="{F388FD47-0EF6-409B-9F40-DDD38D9A7C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44607" y="2690727"/>
              <a:ext cx="238034" cy="365760"/>
            </a:xfrm>
            <a:prstGeom prst="rect">
              <a:avLst/>
            </a:prstGeom>
          </p:spPr>
        </p:pic>
      </p:grp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88E74249-BED0-4D44-9934-63BDFC7E379A}"/>
              </a:ext>
            </a:extLst>
          </p:cNvPr>
          <p:cNvSpPr txBox="1"/>
          <p:nvPr/>
        </p:nvSpPr>
        <p:spPr>
          <a:xfrm>
            <a:off x="154181" y="4767723"/>
            <a:ext cx="1160113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 niemowląt w wieku od 6 do mniej niż 12 miesięcy zalecanym miejscem wstrzyknięcia jest przednio-boczna strona uda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 osób w wieku od 1 roku zalecane miejsce wstrzyknięcia to przednio-boczna strona uda lub mięsień naramienny </a:t>
            </a: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Picture 43">
            <a:extLst>
              <a:ext uri="{FF2B5EF4-FFF2-40B4-BE49-F238E27FC236}">
                <a16:creationId xmlns:a16="http://schemas.microsoft.com/office/drawing/2014/main" id="{67E6B81B-2444-4E76-99F3-B80E666175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gray">
          <a:xfrm>
            <a:off x="1128060" y="2606376"/>
            <a:ext cx="491734" cy="1014201"/>
          </a:xfrm>
          <a:prstGeom prst="rect">
            <a:avLst/>
          </a:prstGeom>
        </p:spPr>
      </p:pic>
      <p:sp>
        <p:nvSpPr>
          <p:cNvPr id="20" name="pole tekstowe 19">
            <a:extLst>
              <a:ext uri="{FF2B5EF4-FFF2-40B4-BE49-F238E27FC236}">
                <a16:creationId xmlns:a16="http://schemas.microsoft.com/office/drawing/2014/main" id="{46807FE7-368F-4719-B97D-05181AB4EFE5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grpSp>
        <p:nvGrpSpPr>
          <p:cNvPr id="23" name="Grupa 22">
            <a:extLst>
              <a:ext uri="{FF2B5EF4-FFF2-40B4-BE49-F238E27FC236}">
                <a16:creationId xmlns:a16="http://schemas.microsoft.com/office/drawing/2014/main" id="{C4AEEEB4-C7DC-4925-90DD-A4C363558FC8}"/>
              </a:ext>
            </a:extLst>
          </p:cNvPr>
          <p:cNvGrpSpPr/>
          <p:nvPr/>
        </p:nvGrpSpPr>
        <p:grpSpPr>
          <a:xfrm>
            <a:off x="10383520" y="326617"/>
            <a:ext cx="1732280" cy="792492"/>
            <a:chOff x="10459720" y="0"/>
            <a:chExt cx="1732280" cy="792492"/>
          </a:xfrm>
          <a:solidFill>
            <a:srgbClr val="800000"/>
          </a:solidFill>
        </p:grpSpPr>
        <p:sp>
          <p:nvSpPr>
            <p:cNvPr id="24" name="object 4">
              <a:extLst>
                <a:ext uri="{FF2B5EF4-FFF2-40B4-BE49-F238E27FC236}">
                  <a16:creationId xmlns:a16="http://schemas.microsoft.com/office/drawing/2014/main" id="{049CED64-97B2-4FD0-8514-F164845CA090}"/>
                </a:ext>
              </a:extLst>
            </p:cNvPr>
            <p:cNvSpPr/>
            <p:nvPr/>
          </p:nvSpPr>
          <p:spPr>
            <a:xfrm>
              <a:off x="10459720" y="0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792492"/>
                  </a:moveTo>
                  <a:lnTo>
                    <a:pt x="1732280" y="792492"/>
                  </a:lnTo>
                  <a:lnTo>
                    <a:pt x="1732280" y="0"/>
                  </a:lnTo>
                  <a:lnTo>
                    <a:pt x="0" y="0"/>
                  </a:lnTo>
                  <a:lnTo>
                    <a:pt x="0" y="79249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5">
              <a:extLst>
                <a:ext uri="{FF2B5EF4-FFF2-40B4-BE49-F238E27FC236}">
                  <a16:creationId xmlns:a16="http://schemas.microsoft.com/office/drawing/2014/main" id="{CEEAAB99-C937-43DA-8580-1411576895D7}"/>
                </a:ext>
              </a:extLst>
            </p:cNvPr>
            <p:cNvSpPr/>
            <p:nvPr/>
          </p:nvSpPr>
          <p:spPr>
            <a:xfrm>
              <a:off x="10459720" y="12"/>
              <a:ext cx="1732280" cy="792480"/>
            </a:xfrm>
            <a:custGeom>
              <a:avLst/>
              <a:gdLst/>
              <a:ahLst/>
              <a:cxnLst/>
              <a:rect l="l" t="t" r="r" b="b"/>
              <a:pathLst>
                <a:path w="1732280" h="792480">
                  <a:moveTo>
                    <a:pt x="0" y="0"/>
                  </a:moveTo>
                  <a:lnTo>
                    <a:pt x="1732280" y="0"/>
                  </a:lnTo>
                  <a:lnTo>
                    <a:pt x="1732280" y="792479"/>
                  </a:lnTo>
                  <a:lnTo>
                    <a:pt x="0" y="792479"/>
                  </a:lnTo>
                </a:path>
              </a:pathLst>
            </a:custGeom>
            <a:grpFill/>
            <a:ln w="6350"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7">
              <a:extLst>
                <a:ext uri="{FF2B5EF4-FFF2-40B4-BE49-F238E27FC236}">
                  <a16:creationId xmlns:a16="http://schemas.microsoft.com/office/drawing/2014/main" id="{831D07A9-6D1D-4E0A-857E-B9F925931C88}"/>
                </a:ext>
              </a:extLst>
            </p:cNvPr>
            <p:cNvSpPr txBox="1"/>
            <p:nvPr/>
          </p:nvSpPr>
          <p:spPr>
            <a:xfrm>
              <a:off x="10526712" y="135497"/>
              <a:ext cx="730250" cy="246221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6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WIEK</a:t>
              </a:r>
              <a:endParaRPr sz="1600" b="1" dirty="0">
                <a:cs typeface="Arial"/>
              </a:endParaRPr>
            </a:p>
          </p:txBody>
        </p:sp>
        <p:sp>
          <p:nvSpPr>
            <p:cNvPr id="27" name="object 11">
              <a:extLst>
                <a:ext uri="{FF2B5EF4-FFF2-40B4-BE49-F238E27FC236}">
                  <a16:creationId xmlns:a16="http://schemas.microsoft.com/office/drawing/2014/main" id="{B647AF6A-64D9-4EC8-B24F-BCE393E0AFBD}"/>
                </a:ext>
              </a:extLst>
            </p:cNvPr>
            <p:cNvSpPr txBox="1"/>
            <p:nvPr/>
          </p:nvSpPr>
          <p:spPr>
            <a:xfrm>
              <a:off x="10501313" y="435335"/>
              <a:ext cx="1649093" cy="215444"/>
            </a:xfrm>
            <a:prstGeom prst="rect">
              <a:avLst/>
            </a:prstGeom>
            <a:grpFill/>
          </p:spPr>
          <p:txBody>
            <a:bodyPr vert="horz" wrap="square" lIns="0" tIns="0" rIns="0" bIns="0" rtlCol="0">
              <a:spAutoFit/>
            </a:bodyPr>
            <a:lstStyle/>
            <a:p>
              <a:pPr marL="12700" algn="l" rtl="0">
                <a:lnSpc>
                  <a:spcPct val="100000"/>
                </a:lnSpc>
              </a:pPr>
              <a:r>
                <a:rPr lang="pl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od 6 miesięcy do </a:t>
              </a:r>
              <a:r>
                <a:rPr lang="pl" sz="1400" b="1" dirty="0">
                  <a:solidFill>
                    <a:srgbClr val="FFFFFF"/>
                  </a:solidFill>
                  <a:ea typeface="Arial"/>
                  <a:cs typeface="Arial"/>
                </a:rPr>
                <a:t>4</a:t>
              </a:r>
              <a:r>
                <a:rPr lang="de-DE" sz="1400" b="1" i="0" u="none" baseline="0" dirty="0">
                  <a:solidFill>
                    <a:srgbClr val="FFFFFF"/>
                  </a:solidFill>
                  <a:ea typeface="Arial"/>
                  <a:cs typeface="Arial"/>
                </a:rPr>
                <a:t> lat</a:t>
              </a:r>
              <a:endParaRPr sz="1400" b="1" dirty="0">
                <a:cs typeface="Arial"/>
              </a:endParaRPr>
            </a:p>
          </p:txBody>
        </p:sp>
        <p:sp>
          <p:nvSpPr>
            <p:cNvPr id="28" name="object 12">
              <a:extLst>
                <a:ext uri="{FF2B5EF4-FFF2-40B4-BE49-F238E27FC236}">
                  <a16:creationId xmlns:a16="http://schemas.microsoft.com/office/drawing/2014/main" id="{F75FE1CB-9AEF-4187-8E01-D84413BCCFA8}"/>
                </a:ext>
              </a:extLst>
            </p:cNvPr>
            <p:cNvSpPr/>
            <p:nvPr/>
          </p:nvSpPr>
          <p:spPr>
            <a:xfrm>
              <a:off x="10459720" y="406412"/>
              <a:ext cx="1594485" cy="0"/>
            </a:xfrm>
            <a:custGeom>
              <a:avLst/>
              <a:gdLst/>
              <a:ahLst/>
              <a:cxnLst/>
              <a:rect l="l" t="t" r="r" b="b"/>
              <a:pathLst>
                <a:path w="1594485">
                  <a:moveTo>
                    <a:pt x="0" y="0"/>
                  </a:moveTo>
                  <a:lnTo>
                    <a:pt x="1594396" y="0"/>
                  </a:lnTo>
                </a:path>
              </a:pathLst>
            </a:custGeom>
            <a:grpFill/>
            <a:ln w="635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345147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B3B5E6C-1E6B-459A-84B5-0B82193D3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sz="3200" dirty="0">
                <a:solidFill>
                  <a:schemeClr val="tx1"/>
                </a:solidFill>
              </a:rPr>
              <a:t>Podanie domięśniowe szczepionek u dzieci w wieku od 6 miesięcy do 4 lat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924B4B8-1913-494B-B6D9-7FD15C4263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484" y="1433612"/>
            <a:ext cx="11265031" cy="4351338"/>
          </a:xfrm>
        </p:spPr>
        <p:txBody>
          <a:bodyPr/>
          <a:lstStyle/>
          <a:p>
            <a:pPr marL="0" indent="0">
              <a:buNone/>
            </a:pPr>
            <a:r>
              <a:rPr lang="pl-PL" dirty="0"/>
              <a:t>Preferowane miejsca wstrzyknięcia domięśniowego u dzieci i niemowląt:</a:t>
            </a:r>
          </a:p>
          <a:p>
            <a:r>
              <a:rPr lang="pl-PL" dirty="0"/>
              <a:t>przednio-boczna okolica uda – niemowlęta i dzieci do 2 lat</a:t>
            </a:r>
          </a:p>
          <a:p>
            <a:r>
              <a:rPr lang="pl-PL" dirty="0"/>
              <a:t>mięsień naramienny (centralna część okolicy naramiennej) – dzieci powyżej 2 lat</a:t>
            </a:r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B011A363-CA3C-4C39-B556-B4E7AAA2F5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078368"/>
              </p:ext>
            </p:extLst>
          </p:nvPr>
        </p:nvGraphicFramePr>
        <p:xfrm>
          <a:off x="358588" y="2836589"/>
          <a:ext cx="10995213" cy="29847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65071">
                  <a:extLst>
                    <a:ext uri="{9D8B030D-6E8A-4147-A177-3AD203B41FA5}">
                      <a16:colId xmlns:a16="http://schemas.microsoft.com/office/drawing/2014/main" val="1345940808"/>
                    </a:ext>
                  </a:extLst>
                </a:gridCol>
                <a:gridCol w="3665071">
                  <a:extLst>
                    <a:ext uri="{9D8B030D-6E8A-4147-A177-3AD203B41FA5}">
                      <a16:colId xmlns:a16="http://schemas.microsoft.com/office/drawing/2014/main" val="1534146345"/>
                    </a:ext>
                  </a:extLst>
                </a:gridCol>
                <a:gridCol w="3665071">
                  <a:extLst>
                    <a:ext uri="{9D8B030D-6E8A-4147-A177-3AD203B41FA5}">
                      <a16:colId xmlns:a16="http://schemas.microsoft.com/office/drawing/2014/main" val="608196011"/>
                    </a:ext>
                  </a:extLst>
                </a:gridCol>
              </a:tblGrid>
              <a:tr h="500228"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d urodzenia do 18. </a:t>
                      </a:r>
                      <a:r>
                        <a:rPr lang="pl-PL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ż</a:t>
                      </a:r>
                      <a:r>
                        <a:rPr lang="pl-PL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2568235"/>
                  </a:ext>
                </a:extLst>
              </a:tr>
              <a:tr h="24222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ek</a:t>
                      </a: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ługość igły</a:t>
                      </a:r>
                      <a:endParaRPr lang="pl-PL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ejsce wstrzyknięcia</a:t>
                      </a:r>
                      <a:endParaRPr lang="pl-PL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634991334"/>
                  </a:ext>
                </a:extLst>
              </a:tr>
              <a:tr h="2801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worodek</a:t>
                      </a:r>
                      <a:r>
                        <a:rPr lang="pl-PL" sz="800" baseline="30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</a:t>
                      </a:r>
                      <a:r>
                        <a:rPr lang="pl-PL" sz="105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</a:t>
                      </a:r>
                      <a:r>
                        <a:rPr lang="pl-PL" sz="1200" baseline="30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pl-PL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zednio-boczna powierzchnia uda</a:t>
                      </a:r>
                      <a:endParaRPr lang="pl-PL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53780138"/>
                  </a:ext>
                </a:extLst>
              </a:tr>
              <a:tr h="2841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emowlę 1–12 mies.</a:t>
                      </a: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mm</a:t>
                      </a:r>
                      <a:endParaRPr lang="pl-PL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zednio-boczna powierzchnia uda</a:t>
                      </a:r>
                      <a:endParaRPr lang="pl-PL" sz="11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870535815"/>
                  </a:ext>
                </a:extLst>
              </a:tr>
              <a:tr h="174299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ek </a:t>
                      </a:r>
                      <a:r>
                        <a:rPr lang="pl-PL" sz="105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niemowlęcy</a:t>
                      </a: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1–2 lat)</a:t>
                      </a: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–32 mm</a:t>
                      </a:r>
                      <a:endParaRPr lang="pl-PL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zednio-boczna powierzchnia </a:t>
                      </a:r>
                      <a:r>
                        <a:rPr lang="pl-PL" sz="1050" b="1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da</a:t>
                      </a:r>
                      <a:r>
                        <a:rPr lang="pl-PL" sz="1200" b="1" baseline="30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pl-PL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88758614"/>
                  </a:ext>
                </a:extLst>
              </a:tr>
              <a:tr h="174299">
                <a:tc v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r>
                        <a:rPr lang="pl-PL" sz="1000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r>
                        <a:rPr lang="pl-PL" sz="1050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5 mm</a:t>
                      </a: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ęsień naramienny</a:t>
                      </a: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07813595"/>
                  </a:ext>
                </a:extLst>
              </a:tr>
              <a:tr h="174299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zieci i młodzież (3–18 lat)</a:t>
                      </a:r>
                      <a:endParaRPr lang="pl-PL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r>
                        <a:rPr lang="pl-PL" sz="1000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r>
                        <a:rPr lang="pl-PL" sz="800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25 mm</a:t>
                      </a: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ęsień </a:t>
                      </a:r>
                      <a:r>
                        <a:rPr lang="pl-PL" sz="1050" b="1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ramienny</a:t>
                      </a:r>
                      <a:r>
                        <a:rPr lang="pl-PL" sz="1200" b="1" baseline="30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pl-PL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47749951"/>
                  </a:ext>
                </a:extLst>
              </a:tr>
              <a:tr h="174299">
                <a:tc v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–38 mm</a:t>
                      </a: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pl-PL" sz="105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zednio-boczna powierzchnia uda</a:t>
                      </a:r>
                      <a:endParaRPr lang="pl-PL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095877021"/>
                  </a:ext>
                </a:extLst>
              </a:tr>
              <a:tr h="944451"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b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l-PL" sz="10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pl-PL" sz="800" b="0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pl-PL" sz="10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ziecko w wieku od urodzenia do ukończenia 28. dnia życia</a:t>
                      </a:r>
                      <a:br>
                        <a:rPr lang="pl-PL" sz="10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l-PL" sz="10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pl-PL" sz="800" b="0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r>
                        <a:rPr lang="pl-PL" sz="10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dy skóra mocno naciągnięta i tkanka podskórna niepofałdowana</a:t>
                      </a:r>
                      <a:br>
                        <a:rPr lang="pl-PL" sz="10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l-PL" sz="10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pl-PL" sz="800" b="0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r>
                        <a:rPr lang="pl-PL" sz="10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iejsce zalecane</a:t>
                      </a:r>
                      <a:br>
                        <a:rPr lang="pl-PL" sz="10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pl-PL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6225587"/>
                  </a:ext>
                </a:extLst>
              </a:tr>
            </a:tbl>
          </a:graphicData>
        </a:graphic>
      </p:graphicFrame>
      <p:sp>
        <p:nvSpPr>
          <p:cNvPr id="8" name="pole tekstowe 7">
            <a:extLst>
              <a:ext uri="{FF2B5EF4-FFF2-40B4-BE49-F238E27FC236}">
                <a16:creationId xmlns:a16="http://schemas.microsoft.com/office/drawing/2014/main" id="{AFFF857B-0B28-4A33-B290-5F253A39F2F3}"/>
              </a:ext>
            </a:extLst>
          </p:cNvPr>
          <p:cNvSpPr txBox="1"/>
          <p:nvPr/>
        </p:nvSpPr>
        <p:spPr>
          <a:xfrm>
            <a:off x="285436" y="6222032"/>
            <a:ext cx="1183341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Kroger A, </a:t>
            </a:r>
            <a:r>
              <a:rPr lang="en-US" sz="1000" dirty="0" err="1">
                <a:solidFill>
                  <a:schemeClr val="bg1"/>
                </a:solidFill>
              </a:rPr>
              <a:t>Bahta</a:t>
            </a:r>
            <a:r>
              <a:rPr lang="en-US" sz="1000" dirty="0">
                <a:solidFill>
                  <a:schemeClr val="bg1"/>
                </a:solidFill>
              </a:rPr>
              <a:t> L, Hunter P. General Best Practice Guidelines for Immunization. Best Practices Guidance of the Advisory Committee on Immunization Practices (ACIP). [www.cdc.gov/vaccines/hcp/acip-recs/general- recs/downloads/generalrecs.pdf]. </a:t>
            </a:r>
            <a:r>
              <a:rPr lang="pl-PL" sz="1000" dirty="0">
                <a:solidFill>
                  <a:schemeClr val="bg1"/>
                </a:solidFill>
              </a:rPr>
              <a:t>Dostęp: 2 grudnia 2022</a:t>
            </a:r>
          </a:p>
        </p:txBody>
      </p:sp>
    </p:spTree>
    <p:extLst>
      <p:ext uri="{BB962C8B-B14F-4D97-AF65-F5344CB8AC3E}">
        <p14:creationId xmlns:p14="http://schemas.microsoft.com/office/powerpoint/2010/main" val="11945414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B4AA00F-5D0A-455A-B123-2B9A03B84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kumimoji="0" lang="pl-PL" sz="3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danie domięśniowe szczepionek u dzieci w wieku od 6 miesięcy do 4 lat</a:t>
            </a:r>
            <a:endParaRPr lang="pl-PL" sz="3200" dirty="0">
              <a:solidFill>
                <a:schemeClr val="tx1"/>
              </a:solidFill>
            </a:endParaRP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9DD25659-38E9-4102-9234-E2C73FFA2A45}"/>
              </a:ext>
            </a:extLst>
          </p:cNvPr>
          <p:cNvSpPr txBox="1"/>
          <p:nvPr/>
        </p:nvSpPr>
        <p:spPr>
          <a:xfrm>
            <a:off x="1550894" y="5473733"/>
            <a:ext cx="30928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U niemowląt zaleca się szczepienie w przednio-boczną okolicę uda</a:t>
            </a:r>
            <a:endParaRPr lang="pl-PL" sz="1200" dirty="0"/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99A90B29-C5E3-48EF-B119-0ACCBA8D3E32}"/>
              </a:ext>
            </a:extLst>
          </p:cNvPr>
          <p:cNvSpPr txBox="1"/>
          <p:nvPr/>
        </p:nvSpPr>
        <p:spPr>
          <a:xfrm>
            <a:off x="7042616" y="5188761"/>
            <a:ext cx="309282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2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Zaznaczone optymalne miejsce wstrzyknięcia szczepionki w mięsień naramienny u dzieci i dorosłych (centralna część okolicy naramiennej)</a:t>
            </a:r>
            <a:endParaRPr lang="pl-PL" sz="1200" dirty="0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0A6DD5BE-02F0-4093-A4D2-B6906DD1EEF0}"/>
              </a:ext>
            </a:extLst>
          </p:cNvPr>
          <p:cNvSpPr txBox="1"/>
          <p:nvPr/>
        </p:nvSpPr>
        <p:spPr>
          <a:xfrm>
            <a:off x="259976" y="6293303"/>
            <a:ext cx="1167204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ietrzyk J.J., Szajewska H., </a:t>
            </a:r>
            <a:r>
              <a:rPr lang="pl-PL" sz="100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Mrukowicz</a:t>
            </a:r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J.: ABC zabiegów w pediatrii. Podręcznik dla studentów medycyny, pielęgniarek i lekarzy. Medycyna Praktyczna, Kraków 2010</a:t>
            </a:r>
          </a:p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"Udostępniono za zgodą z serwisu "Szczepienia" Medycyny Praktycznej: </a:t>
            </a:r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p.pl/szczepienia/praktyka/porocedury/71176</a:t>
            </a:r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„</a:t>
            </a:r>
            <a:endParaRPr lang="pl-PL" sz="1000" dirty="0">
              <a:solidFill>
                <a:schemeClr val="bg1"/>
              </a:solidFill>
            </a:endParaRPr>
          </a:p>
        </p:txBody>
      </p:sp>
      <p:pic>
        <p:nvPicPr>
          <p:cNvPr id="6" name="Obraz 5" descr="Obraz zawierający osoba, wewnątrz, majtki&#10;&#10;Opis wygenerowany automatycznie">
            <a:extLst>
              <a:ext uri="{FF2B5EF4-FFF2-40B4-BE49-F238E27FC236}">
                <a16:creationId xmlns:a16="http://schemas.microsoft.com/office/drawing/2014/main" id="{0E3B3D1D-B4E9-4A24-996D-E649D922DE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0394" y="1411527"/>
            <a:ext cx="3092824" cy="4034946"/>
          </a:xfrm>
          <a:prstGeom prst="rect">
            <a:avLst/>
          </a:prstGeom>
        </p:spPr>
      </p:pic>
      <p:pic>
        <p:nvPicPr>
          <p:cNvPr id="12" name="Obraz 11" descr="Obraz zawierający osoba, wewnątrz&#10;&#10;Opis wygenerowany automatycznie">
            <a:extLst>
              <a:ext uri="{FF2B5EF4-FFF2-40B4-BE49-F238E27FC236}">
                <a16:creationId xmlns:a16="http://schemas.microsoft.com/office/drawing/2014/main" id="{438298E9-99AC-4541-B954-E17F697BC6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3680" y="1216058"/>
            <a:ext cx="3063919" cy="4034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6491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71646B5-AE57-4888-B934-3D126A21E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36" y="252085"/>
            <a:ext cx="11003946" cy="942681"/>
          </a:xfrm>
        </p:spPr>
        <p:txBody>
          <a:bodyPr>
            <a:noAutofit/>
          </a:bodyPr>
          <a:lstStyle/>
          <a:p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danie domięśniowe szczepionki w przednio-boczną okolicę uda u niemowląt</a:t>
            </a:r>
            <a:b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543B9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pl-PL" sz="20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pis zabiegu</a:t>
            </a:r>
            <a:endParaRPr lang="pl-PL" sz="20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1B718B25-5CE8-4D78-9FF1-B861D2A8AC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540" y="1783236"/>
            <a:ext cx="11265031" cy="2445864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pl-PL" dirty="0"/>
              <a:t>1. Umyj ręce i załóż rękawiczki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l-PL" dirty="0"/>
              <a:t>2. Wybierz zalecane miejsce anatomiczne wstrzyknięcia w zależności od wieku, masy ciała i masy mięśniowej pacjenta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pl-PL" dirty="0"/>
              <a:t>3. Odkaź miejsce szczepienia za pomocą gazików nasączonych alkoholem lub innym środkiem dezynfekującym, prowadząc je owalnym ruchem spiralnym od wybranego miejsca podania szczepionki na powierzchni o średnicy około 5 cm. Odczekaj, aż alkohol całkowicie odparuje z powierzchni skóry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776B5685-8FEC-4A24-A81B-2576F489E153}"/>
              </a:ext>
            </a:extLst>
          </p:cNvPr>
          <p:cNvSpPr txBox="1"/>
          <p:nvPr/>
        </p:nvSpPr>
        <p:spPr>
          <a:xfrm>
            <a:off x="259976" y="6293303"/>
            <a:ext cx="1167204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ietrzyk J.J., Szajewska H., </a:t>
            </a:r>
            <a:r>
              <a:rPr lang="pl-PL" sz="100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Mrukowicz</a:t>
            </a:r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J.: ABC zabiegów w pediatrii. Podręcznik dla studentów medycyny, pielęgniarek i lekarzy. Medycyna Praktyczna, Kraków 2010</a:t>
            </a:r>
          </a:p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"Udostępniono za zgodą z serwisu "Szczepienia" Medycyny Praktycznej: https://www.mp.pl/szczepienia/praktyka/porocedury/71176„</a:t>
            </a:r>
          </a:p>
        </p:txBody>
      </p:sp>
    </p:spTree>
    <p:extLst>
      <p:ext uri="{BB962C8B-B14F-4D97-AF65-F5344CB8AC3E}">
        <p14:creationId xmlns:p14="http://schemas.microsoft.com/office/powerpoint/2010/main" val="40457368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F09923F-2872-4E29-8549-73EE860D7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danie domięśniowe szczepionki w przednio-boczną okolicę uda u niemowląt</a:t>
            </a:r>
            <a:b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543B9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pl-PL" sz="200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pis zabiegu</a:t>
            </a:r>
            <a:endParaRPr lang="pl-PL" sz="3200" dirty="0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8A99A492-2D93-4D8B-8C15-A10DA9AA1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340" y="1343965"/>
            <a:ext cx="11265031" cy="4351338"/>
          </a:xfrm>
        </p:spPr>
        <p:txBody>
          <a:bodyPr/>
          <a:lstStyle/>
          <a:p>
            <a:pPr marL="0" indent="0">
              <a:buNone/>
            </a:pPr>
            <a:r>
              <a:rPr lang="pl-PL" dirty="0"/>
              <a:t>4. Wkłuj igłę w mięsień, wykorzystując jedną z dwóch metod:</a:t>
            </a:r>
          </a:p>
          <a:p>
            <a:pPr marL="0" indent="0">
              <a:buNone/>
            </a:pPr>
            <a:endParaRPr lang="pl-PL" sz="800" dirty="0"/>
          </a:p>
          <a:p>
            <a:r>
              <a:rPr lang="pl-PL" dirty="0"/>
              <a:t>naciągnij skórę w miejscu podania szczepionki za pomocą kciuka i palca wskazującego wolnej ręki i wprowadź igłę strzykawki ze szczepionką w wybrane miejsce pod kątem 90</a:t>
            </a:r>
            <a:r>
              <a:rPr lang="pl-PL" baseline="30000" dirty="0"/>
              <a:t>o</a:t>
            </a:r>
            <a:r>
              <a:rPr lang="pl-PL" dirty="0"/>
              <a:t> (prostopadle do powierzchni skóry) – technika preferowana: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9259E6C5-04CE-4515-9156-F6B0CDF7FA49}"/>
              </a:ext>
            </a:extLst>
          </p:cNvPr>
          <p:cNvSpPr txBox="1"/>
          <p:nvPr/>
        </p:nvSpPr>
        <p:spPr>
          <a:xfrm>
            <a:off x="259976" y="6293303"/>
            <a:ext cx="1167204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ietrzyk J.J., Szajewska H., </a:t>
            </a:r>
            <a:r>
              <a:rPr lang="pl-PL" sz="100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Mrukowicz</a:t>
            </a:r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J.: ABC zabiegów w pediatrii. Podręcznik dla studentów medycyny, pielęgniarek i lekarzy. Medycyna Praktyczna, Kraków 2010</a:t>
            </a:r>
          </a:p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"Udostępniono za zgodą z serwisu "Szczepienia" Medycyny Praktycznej: https://www.mp.pl/szczepienia/praktyka/porocedury/71176„</a:t>
            </a:r>
          </a:p>
        </p:txBody>
      </p:sp>
      <p:pic>
        <p:nvPicPr>
          <p:cNvPr id="11" name="Obraz 10" descr="Obraz zawierający osoba&#10;&#10;Opis wygenerowany automatycznie">
            <a:extLst>
              <a:ext uri="{FF2B5EF4-FFF2-40B4-BE49-F238E27FC236}">
                <a16:creationId xmlns:a16="http://schemas.microsoft.com/office/drawing/2014/main" id="{5C54B421-AADD-4CC7-883E-04D9EE8523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475" y="2787910"/>
            <a:ext cx="4127500" cy="3035300"/>
          </a:xfrm>
          <a:prstGeom prst="rect">
            <a:avLst/>
          </a:prstGeom>
        </p:spPr>
      </p:pic>
      <p:pic>
        <p:nvPicPr>
          <p:cNvPr id="13" name="Obraz 12" descr="Obraz zawierający osoba&#10;&#10;Opis wygenerowany automatycznie">
            <a:extLst>
              <a:ext uri="{FF2B5EF4-FFF2-40B4-BE49-F238E27FC236}">
                <a16:creationId xmlns:a16="http://schemas.microsoft.com/office/drawing/2014/main" id="{42922C16-E870-4DDB-A40A-305F29E417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787910"/>
            <a:ext cx="4127500" cy="303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4572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F09923F-2872-4E29-8549-73EE860D7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sz="3200" dirty="0">
                <a:solidFill>
                  <a:schemeClr val="tx1"/>
                </a:solidFill>
              </a:rPr>
              <a:t>Podanie domięśniowe szczepionki w przednio-boczną okolicę uda u niemowląt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8A99A492-2D93-4D8B-8C15-A10DA9AA1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5340" y="1343965"/>
            <a:ext cx="11265031" cy="4351338"/>
          </a:xfrm>
        </p:spPr>
        <p:txBody>
          <a:bodyPr/>
          <a:lstStyle/>
          <a:p>
            <a:pPr marL="0" indent="0">
              <a:buNone/>
            </a:pPr>
            <a:r>
              <a:rPr lang="pl-PL" dirty="0"/>
              <a:t>4. Wkłuj igłę w mięsień, wykorzystując jedną z dwóch metod:</a:t>
            </a:r>
          </a:p>
          <a:p>
            <a:pPr marL="0" indent="0">
              <a:buNone/>
            </a:pPr>
            <a:endParaRPr lang="pl-PL" dirty="0"/>
          </a:p>
          <a:p>
            <a:r>
              <a:rPr lang="pl-PL" dirty="0"/>
              <a:t>uchwyć palcami lewej ręki mięsień i prawą ręką wprowadź igłę strzykawki ze szczepionką w wybrane miejsce pod kątem 90</a:t>
            </a:r>
            <a:r>
              <a:rPr lang="pl-PL" baseline="30000" dirty="0"/>
              <a:t>o</a:t>
            </a:r>
            <a:r>
              <a:rPr lang="pl-PL" dirty="0"/>
              <a:t> (prostopadle do powierzchni skóry).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02A94BFC-3AD5-4BB0-8F26-278040468528}"/>
              </a:ext>
            </a:extLst>
          </p:cNvPr>
          <p:cNvSpPr txBox="1"/>
          <p:nvPr/>
        </p:nvSpPr>
        <p:spPr>
          <a:xfrm>
            <a:off x="259976" y="6293303"/>
            <a:ext cx="1167204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ietrzyk J.J., Szajewska H., </a:t>
            </a:r>
            <a:r>
              <a:rPr lang="pl-PL" sz="100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Mrukowicz</a:t>
            </a:r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J.: ABC zabiegów w pediatrii. Podręcznik dla studentów medycyny, pielęgniarek i lekarzy. Medycyna Praktyczna, Kraków 2010</a:t>
            </a:r>
          </a:p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"Udostępniono za zgodą z serwisu "Szczepienia" Medycyny Praktycznej: https://www.mp.pl/szczepienia/praktyka/porocedury/71176„</a:t>
            </a:r>
          </a:p>
        </p:txBody>
      </p:sp>
      <p:pic>
        <p:nvPicPr>
          <p:cNvPr id="5" name="Obraz 4" descr="Obraz zawierający osoba, wewnątrz, ręka, zamknąć&#10;&#10;Opis wygenerowany automatycznie">
            <a:extLst>
              <a:ext uri="{FF2B5EF4-FFF2-40B4-BE49-F238E27FC236}">
                <a16:creationId xmlns:a16="http://schemas.microsoft.com/office/drawing/2014/main" id="{857BC0BA-5CC5-436F-966B-F33101610F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7348" y="2577713"/>
            <a:ext cx="3166302" cy="3117590"/>
          </a:xfrm>
          <a:prstGeom prst="rect">
            <a:avLst/>
          </a:prstGeom>
        </p:spPr>
      </p:pic>
      <p:pic>
        <p:nvPicPr>
          <p:cNvPr id="9" name="Obraz 8" descr="Obraz zawierający osoba, wewnątrz, ręka, dziecko&#10;&#10;Opis wygenerowany automatycznie">
            <a:extLst>
              <a:ext uri="{FF2B5EF4-FFF2-40B4-BE49-F238E27FC236}">
                <a16:creationId xmlns:a16="http://schemas.microsoft.com/office/drawing/2014/main" id="{0C96E62B-F02E-401F-83B7-BB0D5A21A2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2673" y="2577713"/>
            <a:ext cx="3166302" cy="3127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2114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EA33AB4-10AA-465B-A1AF-008352603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kumimoji="0" lang="pl-PL" sz="3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danie domięśniowe szczepionki w przednio-boczną okolicę uda u niemowląt</a:t>
            </a:r>
            <a:endParaRPr lang="pl-PL" sz="3200" dirty="0">
              <a:solidFill>
                <a:schemeClr val="tx1"/>
              </a:solidFill>
            </a:endParaRP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AF353ABB-1FE2-4E12-A583-2FF1E979D2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/>
              <a:t>5. Wstrzyknij szczepionkę bez wcześniejszej aspiracji. Zaleca się szybkie wstrzyknięcie (ale płynne, bez używania nadmiernej siły), ponieważ natężenie bólu i stresu podczas krótszej procedury jest mniejsze niż podczas standardowego wstrzyknięcia powolnego.</a:t>
            </a:r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r>
              <a:rPr lang="pl-PL" dirty="0"/>
              <a:t>6. Usuń igłę jednostajnym szybkim ruchem.</a:t>
            </a:r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r>
              <a:rPr lang="pl-PL" dirty="0"/>
              <a:t>7. Uciśnij miejsce podania szczepionki jałowym gazikiem i poleć, żeby rodzic stosował taki ucisk przez 30–60 sekund (może to zmniejszać odczucie bólu).</a:t>
            </a:r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r>
              <a:rPr lang="pl-PL" dirty="0"/>
              <a:t>8. W razie krwawienia z miejsca podania szczepionki załóż jałowy opatrunek.</a:t>
            </a:r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r>
              <a:rPr lang="pl-PL" dirty="0"/>
              <a:t>9. Po podaniu szczepionki zaleć obserwację pacjenta w pozycji siedzącej lub leżącej w placówce medycznej przez 20–30 minut pod katem omdlenia lub anafilaksji.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BD77180C-0FBD-4970-B0E3-A5EBBE8D9B96}"/>
              </a:ext>
            </a:extLst>
          </p:cNvPr>
          <p:cNvSpPr txBox="1"/>
          <p:nvPr/>
        </p:nvSpPr>
        <p:spPr>
          <a:xfrm>
            <a:off x="259976" y="6293303"/>
            <a:ext cx="1167204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ietrzyk J.J., Szajewska H., </a:t>
            </a:r>
            <a:r>
              <a:rPr lang="pl-PL" sz="100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Mrukowicz</a:t>
            </a:r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J.: ABC zabiegów w pediatrii. Podręcznik dla studentów medycyny, pielęgniarek i lekarzy. Medycyna Praktyczna, Kraków 2010</a:t>
            </a:r>
          </a:p>
          <a:p>
            <a:r>
              <a:rPr lang="pl-PL" sz="100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"Udostępniono za zgodą z serwisu "Szczepienia" Medycyny Praktycznej: https://www.mp.pl/szczepienia/praktyka/porocedury/71176„</a:t>
            </a:r>
          </a:p>
        </p:txBody>
      </p:sp>
    </p:spTree>
    <p:extLst>
      <p:ext uri="{BB962C8B-B14F-4D97-AF65-F5344CB8AC3E}">
        <p14:creationId xmlns:p14="http://schemas.microsoft.com/office/powerpoint/2010/main" val="36890386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A937B-5107-4748-B856-F3F305E55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800" dirty="0">
                <a:solidFill>
                  <a:schemeClr val="tx1"/>
                </a:solidFill>
              </a:rPr>
              <a:t>Karta przypominająca o kolejnej dawce szczepienia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27" name="Footer Text">
            <a:extLst>
              <a:ext uri="{FF2B5EF4-FFF2-40B4-BE49-F238E27FC236}">
                <a16:creationId xmlns:a16="http://schemas.microsoft.com/office/drawing/2014/main" id="{2EE07CF6-DA9F-4570-96C4-9236C5A7C586}"/>
              </a:ext>
            </a:extLst>
          </p:cNvPr>
          <p:cNvSpPr txBox="1"/>
          <p:nvPr/>
        </p:nvSpPr>
        <p:spPr>
          <a:xfrm>
            <a:off x="333375" y="1302503"/>
            <a:ext cx="117348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375467">
              <a:defRPr/>
            </a:pPr>
            <a:r>
              <a:rPr lang="pl-PL" sz="1600" b="1" dirty="0">
                <a:solidFill>
                  <a:srgbClr val="002060"/>
                </a:solidFill>
                <a:latin typeface="Arial"/>
              </a:rPr>
              <a:t>Przypomnienie o kolejnej dawce dla osób otrzymujących szczepionkę będzie miało kluczowe znaczenie dla zapewnienia zgodności z odstępami między dawkami szczepionki i osiągnięcia optymalnej skuteczności szczepionk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99771E-9995-4C4B-A9B6-B2E167F5D0AA}"/>
              </a:ext>
            </a:extLst>
          </p:cNvPr>
          <p:cNvSpPr/>
          <p:nvPr/>
        </p:nvSpPr>
        <p:spPr>
          <a:xfrm>
            <a:off x="7570901" y="2100268"/>
            <a:ext cx="273842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90000"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ple second dose reminder card</a:t>
            </a:r>
          </a:p>
        </p:txBody>
      </p:sp>
      <p:grpSp>
        <p:nvGrpSpPr>
          <p:cNvPr id="34" name="Group 123">
            <a:extLst>
              <a:ext uri="{FF2B5EF4-FFF2-40B4-BE49-F238E27FC236}">
                <a16:creationId xmlns:a16="http://schemas.microsoft.com/office/drawing/2014/main" id="{1EB23061-FE4F-4599-AC75-5F252476C0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2989" y="4301423"/>
            <a:ext cx="506890" cy="465246"/>
            <a:chOff x="3438" y="3034"/>
            <a:chExt cx="426" cy="391"/>
          </a:xfrm>
          <a:solidFill>
            <a:schemeClr val="bg1"/>
          </a:solidFill>
        </p:grpSpPr>
        <p:sp>
          <p:nvSpPr>
            <p:cNvPr id="35" name="Freeform 124">
              <a:extLst>
                <a:ext uri="{FF2B5EF4-FFF2-40B4-BE49-F238E27FC236}">
                  <a16:creationId xmlns:a16="http://schemas.microsoft.com/office/drawing/2014/main" id="{08F8D370-5149-479E-999E-D7E82222FC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8" y="3034"/>
              <a:ext cx="337" cy="302"/>
            </a:xfrm>
            <a:custGeom>
              <a:avLst/>
              <a:gdLst>
                <a:gd name="T0" fmla="*/ 66 w 228"/>
                <a:gd name="T1" fmla="*/ 204 h 204"/>
                <a:gd name="T2" fmla="*/ 64 w 228"/>
                <a:gd name="T3" fmla="*/ 204 h 204"/>
                <a:gd name="T4" fmla="*/ 60 w 228"/>
                <a:gd name="T5" fmla="*/ 198 h 204"/>
                <a:gd name="T6" fmla="*/ 60 w 228"/>
                <a:gd name="T7" fmla="*/ 156 h 204"/>
                <a:gd name="T8" fmla="*/ 54 w 228"/>
                <a:gd name="T9" fmla="*/ 156 h 204"/>
                <a:gd name="T10" fmla="*/ 0 w 228"/>
                <a:gd name="T11" fmla="*/ 102 h 204"/>
                <a:gd name="T12" fmla="*/ 0 w 228"/>
                <a:gd name="T13" fmla="*/ 54 h 204"/>
                <a:gd name="T14" fmla="*/ 54 w 228"/>
                <a:gd name="T15" fmla="*/ 0 h 204"/>
                <a:gd name="T16" fmla="*/ 174 w 228"/>
                <a:gd name="T17" fmla="*/ 0 h 204"/>
                <a:gd name="T18" fmla="*/ 228 w 228"/>
                <a:gd name="T19" fmla="*/ 54 h 204"/>
                <a:gd name="T20" fmla="*/ 228 w 228"/>
                <a:gd name="T21" fmla="*/ 102 h 204"/>
                <a:gd name="T22" fmla="*/ 174 w 228"/>
                <a:gd name="T23" fmla="*/ 156 h 204"/>
                <a:gd name="T24" fmla="*/ 123 w 228"/>
                <a:gd name="T25" fmla="*/ 156 h 204"/>
                <a:gd name="T26" fmla="*/ 70 w 228"/>
                <a:gd name="T27" fmla="*/ 203 h 204"/>
                <a:gd name="T28" fmla="*/ 66 w 228"/>
                <a:gd name="T29" fmla="*/ 204 h 204"/>
                <a:gd name="T30" fmla="*/ 54 w 228"/>
                <a:gd name="T31" fmla="*/ 12 h 204"/>
                <a:gd name="T32" fmla="*/ 12 w 228"/>
                <a:gd name="T33" fmla="*/ 54 h 204"/>
                <a:gd name="T34" fmla="*/ 12 w 228"/>
                <a:gd name="T35" fmla="*/ 102 h 204"/>
                <a:gd name="T36" fmla="*/ 54 w 228"/>
                <a:gd name="T37" fmla="*/ 144 h 204"/>
                <a:gd name="T38" fmla="*/ 66 w 228"/>
                <a:gd name="T39" fmla="*/ 144 h 204"/>
                <a:gd name="T40" fmla="*/ 72 w 228"/>
                <a:gd name="T41" fmla="*/ 150 h 204"/>
                <a:gd name="T42" fmla="*/ 72 w 228"/>
                <a:gd name="T43" fmla="*/ 185 h 204"/>
                <a:gd name="T44" fmla="*/ 116 w 228"/>
                <a:gd name="T45" fmla="*/ 146 h 204"/>
                <a:gd name="T46" fmla="*/ 120 w 228"/>
                <a:gd name="T47" fmla="*/ 144 h 204"/>
                <a:gd name="T48" fmla="*/ 174 w 228"/>
                <a:gd name="T49" fmla="*/ 144 h 204"/>
                <a:gd name="T50" fmla="*/ 216 w 228"/>
                <a:gd name="T51" fmla="*/ 102 h 204"/>
                <a:gd name="T52" fmla="*/ 216 w 228"/>
                <a:gd name="T53" fmla="*/ 54 h 204"/>
                <a:gd name="T54" fmla="*/ 174 w 228"/>
                <a:gd name="T55" fmla="*/ 12 h 204"/>
                <a:gd name="T56" fmla="*/ 54 w 228"/>
                <a:gd name="T57" fmla="*/ 1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8" h="204">
                  <a:moveTo>
                    <a:pt x="66" y="204"/>
                  </a:moveTo>
                  <a:cubicBezTo>
                    <a:pt x="66" y="204"/>
                    <a:pt x="65" y="204"/>
                    <a:pt x="64" y="204"/>
                  </a:cubicBezTo>
                  <a:cubicBezTo>
                    <a:pt x="62" y="203"/>
                    <a:pt x="60" y="200"/>
                    <a:pt x="60" y="198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54" y="156"/>
                    <a:pt x="54" y="156"/>
                    <a:pt x="54" y="156"/>
                  </a:cubicBezTo>
                  <a:cubicBezTo>
                    <a:pt x="25" y="156"/>
                    <a:pt x="0" y="132"/>
                    <a:pt x="0" y="102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204" y="0"/>
                    <a:pt x="228" y="24"/>
                    <a:pt x="228" y="54"/>
                  </a:cubicBezTo>
                  <a:cubicBezTo>
                    <a:pt x="228" y="102"/>
                    <a:pt x="228" y="102"/>
                    <a:pt x="228" y="102"/>
                  </a:cubicBezTo>
                  <a:cubicBezTo>
                    <a:pt x="228" y="132"/>
                    <a:pt x="204" y="156"/>
                    <a:pt x="174" y="156"/>
                  </a:cubicBezTo>
                  <a:cubicBezTo>
                    <a:pt x="123" y="156"/>
                    <a:pt x="123" y="156"/>
                    <a:pt x="123" y="156"/>
                  </a:cubicBezTo>
                  <a:cubicBezTo>
                    <a:pt x="70" y="203"/>
                    <a:pt x="70" y="203"/>
                    <a:pt x="70" y="203"/>
                  </a:cubicBezTo>
                  <a:cubicBezTo>
                    <a:pt x="69" y="204"/>
                    <a:pt x="68" y="204"/>
                    <a:pt x="66" y="204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25"/>
                    <a:pt x="31" y="144"/>
                    <a:pt x="54" y="144"/>
                  </a:cubicBezTo>
                  <a:cubicBezTo>
                    <a:pt x="66" y="144"/>
                    <a:pt x="66" y="144"/>
                    <a:pt x="66" y="144"/>
                  </a:cubicBezTo>
                  <a:cubicBezTo>
                    <a:pt x="70" y="144"/>
                    <a:pt x="72" y="147"/>
                    <a:pt x="72" y="150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116" y="146"/>
                    <a:pt x="116" y="146"/>
                    <a:pt x="116" y="146"/>
                  </a:cubicBezTo>
                  <a:cubicBezTo>
                    <a:pt x="118" y="145"/>
                    <a:pt x="119" y="144"/>
                    <a:pt x="120" y="144"/>
                  </a:cubicBezTo>
                  <a:cubicBezTo>
                    <a:pt x="174" y="144"/>
                    <a:pt x="174" y="144"/>
                    <a:pt x="174" y="144"/>
                  </a:cubicBezTo>
                  <a:cubicBezTo>
                    <a:pt x="198" y="144"/>
                    <a:pt x="216" y="125"/>
                    <a:pt x="216" y="102"/>
                  </a:cubicBezTo>
                  <a:cubicBezTo>
                    <a:pt x="216" y="54"/>
                    <a:pt x="216" y="54"/>
                    <a:pt x="216" y="54"/>
                  </a:cubicBezTo>
                  <a:cubicBezTo>
                    <a:pt x="216" y="31"/>
                    <a:pt x="198" y="12"/>
                    <a:pt x="174" y="12"/>
                  </a:cubicBezTo>
                  <a:lnTo>
                    <a:pt x="5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125">
              <a:extLst>
                <a:ext uri="{FF2B5EF4-FFF2-40B4-BE49-F238E27FC236}">
                  <a16:creationId xmlns:a16="http://schemas.microsoft.com/office/drawing/2014/main" id="{EFA28F60-1C98-435A-8F90-94D9D8772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3" y="3230"/>
              <a:ext cx="231" cy="195"/>
            </a:xfrm>
            <a:custGeom>
              <a:avLst/>
              <a:gdLst>
                <a:gd name="T0" fmla="*/ 102 w 156"/>
                <a:gd name="T1" fmla="*/ 132 h 132"/>
                <a:gd name="T2" fmla="*/ 98 w 156"/>
                <a:gd name="T3" fmla="*/ 130 h 132"/>
                <a:gd name="T4" fmla="*/ 64 w 156"/>
                <a:gd name="T5" fmla="*/ 96 h 132"/>
                <a:gd name="T6" fmla="*/ 36 w 156"/>
                <a:gd name="T7" fmla="*/ 96 h 132"/>
                <a:gd name="T8" fmla="*/ 0 w 156"/>
                <a:gd name="T9" fmla="*/ 60 h 132"/>
                <a:gd name="T10" fmla="*/ 6 w 156"/>
                <a:gd name="T11" fmla="*/ 54 h 132"/>
                <a:gd name="T12" fmla="*/ 12 w 156"/>
                <a:gd name="T13" fmla="*/ 60 h 132"/>
                <a:gd name="T14" fmla="*/ 36 w 156"/>
                <a:gd name="T15" fmla="*/ 84 h 132"/>
                <a:gd name="T16" fmla="*/ 66 w 156"/>
                <a:gd name="T17" fmla="*/ 84 h 132"/>
                <a:gd name="T18" fmla="*/ 71 w 156"/>
                <a:gd name="T19" fmla="*/ 86 h 132"/>
                <a:gd name="T20" fmla="*/ 96 w 156"/>
                <a:gd name="T21" fmla="*/ 112 h 132"/>
                <a:gd name="T22" fmla="*/ 96 w 156"/>
                <a:gd name="T23" fmla="*/ 90 h 132"/>
                <a:gd name="T24" fmla="*/ 102 w 156"/>
                <a:gd name="T25" fmla="*/ 84 h 132"/>
                <a:gd name="T26" fmla="*/ 120 w 156"/>
                <a:gd name="T27" fmla="*/ 84 h 132"/>
                <a:gd name="T28" fmla="*/ 144 w 156"/>
                <a:gd name="T29" fmla="*/ 60 h 132"/>
                <a:gd name="T30" fmla="*/ 144 w 156"/>
                <a:gd name="T31" fmla="*/ 36 h 132"/>
                <a:gd name="T32" fmla="*/ 120 w 156"/>
                <a:gd name="T33" fmla="*/ 12 h 132"/>
                <a:gd name="T34" fmla="*/ 114 w 156"/>
                <a:gd name="T35" fmla="*/ 6 h 132"/>
                <a:gd name="T36" fmla="*/ 120 w 156"/>
                <a:gd name="T37" fmla="*/ 0 h 132"/>
                <a:gd name="T38" fmla="*/ 156 w 156"/>
                <a:gd name="T39" fmla="*/ 36 h 132"/>
                <a:gd name="T40" fmla="*/ 156 w 156"/>
                <a:gd name="T41" fmla="*/ 60 h 132"/>
                <a:gd name="T42" fmla="*/ 120 w 156"/>
                <a:gd name="T43" fmla="*/ 96 h 132"/>
                <a:gd name="T44" fmla="*/ 108 w 156"/>
                <a:gd name="T45" fmla="*/ 96 h 132"/>
                <a:gd name="T46" fmla="*/ 108 w 156"/>
                <a:gd name="T47" fmla="*/ 126 h 132"/>
                <a:gd name="T48" fmla="*/ 105 w 156"/>
                <a:gd name="T49" fmla="*/ 132 h 132"/>
                <a:gd name="T50" fmla="*/ 102 w 156"/>
                <a:gd name="T5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6" h="132">
                  <a:moveTo>
                    <a:pt x="102" y="132"/>
                  </a:moveTo>
                  <a:cubicBezTo>
                    <a:pt x="101" y="132"/>
                    <a:pt x="99" y="131"/>
                    <a:pt x="98" y="130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17" y="96"/>
                    <a:pt x="0" y="80"/>
                    <a:pt x="0" y="60"/>
                  </a:cubicBezTo>
                  <a:cubicBezTo>
                    <a:pt x="0" y="57"/>
                    <a:pt x="3" y="54"/>
                    <a:pt x="6" y="54"/>
                  </a:cubicBezTo>
                  <a:cubicBezTo>
                    <a:pt x="10" y="54"/>
                    <a:pt x="12" y="57"/>
                    <a:pt x="12" y="60"/>
                  </a:cubicBezTo>
                  <a:cubicBezTo>
                    <a:pt x="12" y="73"/>
                    <a:pt x="23" y="84"/>
                    <a:pt x="36" y="84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68" y="84"/>
                    <a:pt x="70" y="85"/>
                    <a:pt x="71" y="86"/>
                  </a:cubicBezTo>
                  <a:cubicBezTo>
                    <a:pt x="96" y="112"/>
                    <a:pt x="96" y="112"/>
                    <a:pt x="96" y="112"/>
                  </a:cubicBezTo>
                  <a:cubicBezTo>
                    <a:pt x="96" y="90"/>
                    <a:pt x="96" y="90"/>
                    <a:pt x="96" y="90"/>
                  </a:cubicBezTo>
                  <a:cubicBezTo>
                    <a:pt x="96" y="87"/>
                    <a:pt x="99" y="84"/>
                    <a:pt x="102" y="84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34" y="84"/>
                    <a:pt x="144" y="73"/>
                    <a:pt x="144" y="60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44" y="23"/>
                    <a:pt x="134" y="12"/>
                    <a:pt x="120" y="12"/>
                  </a:cubicBezTo>
                  <a:cubicBezTo>
                    <a:pt x="117" y="12"/>
                    <a:pt x="114" y="9"/>
                    <a:pt x="114" y="6"/>
                  </a:cubicBezTo>
                  <a:cubicBezTo>
                    <a:pt x="114" y="3"/>
                    <a:pt x="117" y="0"/>
                    <a:pt x="120" y="0"/>
                  </a:cubicBezTo>
                  <a:cubicBezTo>
                    <a:pt x="140" y="0"/>
                    <a:pt x="156" y="16"/>
                    <a:pt x="156" y="36"/>
                  </a:cubicBezTo>
                  <a:cubicBezTo>
                    <a:pt x="156" y="60"/>
                    <a:pt x="156" y="60"/>
                    <a:pt x="156" y="60"/>
                  </a:cubicBezTo>
                  <a:cubicBezTo>
                    <a:pt x="156" y="80"/>
                    <a:pt x="140" y="96"/>
                    <a:pt x="120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8"/>
                    <a:pt x="107" y="131"/>
                    <a:pt x="105" y="132"/>
                  </a:cubicBezTo>
                  <a:cubicBezTo>
                    <a:pt x="104" y="132"/>
                    <a:pt x="103" y="132"/>
                    <a:pt x="102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6400406-086C-44D5-B69E-71009A09D184}"/>
              </a:ext>
            </a:extLst>
          </p:cNvPr>
          <p:cNvCxnSpPr/>
          <p:nvPr/>
        </p:nvCxnSpPr>
        <p:spPr>
          <a:xfrm>
            <a:off x="682107" y="1955471"/>
            <a:ext cx="6610382" cy="0"/>
          </a:xfrm>
          <a:prstGeom prst="line">
            <a:avLst/>
          </a:prstGeom>
          <a:noFill/>
          <a:ln w="25400" cap="rnd">
            <a:solidFill>
              <a:schemeClr val="tx2">
                <a:lumMod val="60000"/>
                <a:lumOff val="40000"/>
              </a:schemeClr>
            </a:solidFill>
            <a:prstDash val="sysDot"/>
            <a:round/>
            <a:headEnd/>
            <a:tailEnd/>
          </a:ln>
          <a:effectLst/>
        </p:spPr>
      </p:cxnSp>
      <p:pic>
        <p:nvPicPr>
          <p:cNvPr id="6" name="Obraz 5">
            <a:extLst>
              <a:ext uri="{FF2B5EF4-FFF2-40B4-BE49-F238E27FC236}">
                <a16:creationId xmlns:a16="http://schemas.microsoft.com/office/drawing/2014/main" id="{F197A300-B4A4-47DB-A88E-AF8FBE9DDB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913" y="2419116"/>
            <a:ext cx="5689185" cy="333980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0B3CCDA5-7B54-4435-851C-F00B117447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244" y="2442043"/>
            <a:ext cx="5440275" cy="3263431"/>
          </a:xfrm>
          <a:prstGeom prst="rect">
            <a:avLst/>
          </a:prstGeom>
        </p:spPr>
      </p:pic>
      <p:sp>
        <p:nvSpPr>
          <p:cNvPr id="19" name="pole tekstowe 18">
            <a:extLst>
              <a:ext uri="{FF2B5EF4-FFF2-40B4-BE49-F238E27FC236}">
                <a16:creationId xmlns:a16="http://schemas.microsoft.com/office/drawing/2014/main" id="{284F4457-191B-4978-B316-F1C4755712AF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</p:spTree>
    <p:extLst>
      <p:ext uri="{BB962C8B-B14F-4D97-AF65-F5344CB8AC3E}">
        <p14:creationId xmlns:p14="http://schemas.microsoft.com/office/powerpoint/2010/main" val="31053331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3F287-87B8-BB4C-9C43-157D7FBC6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140" y="2293485"/>
            <a:ext cx="6234260" cy="2004423"/>
          </a:xfrm>
        </p:spPr>
        <p:txBody>
          <a:bodyPr>
            <a:normAutofit/>
          </a:bodyPr>
          <a:lstStyle/>
          <a:p>
            <a:r>
              <a:rPr lang="pl-PL" sz="4000" dirty="0">
                <a:solidFill>
                  <a:schemeClr val="tx1"/>
                </a:solidFill>
              </a:rPr>
              <a:t>Informacje na temat szczepionki </a:t>
            </a:r>
            <a:r>
              <a:rPr lang="pl-PL" sz="4000" dirty="0" err="1">
                <a:solidFill>
                  <a:schemeClr val="tx1"/>
                </a:solidFill>
              </a:rPr>
              <a:t>Comirnaty</a:t>
            </a:r>
            <a:endParaRPr lang="en-US" sz="4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388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7501456-54D7-4FBA-B398-DF49E1C2D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l-PL" sz="3200" dirty="0">
                <a:solidFill>
                  <a:srgbClr val="800000"/>
                </a:solidFill>
              </a:rPr>
              <a:t>Produkt leczniczy </a:t>
            </a:r>
            <a:r>
              <a:rPr lang="pl-PL" sz="3200" dirty="0" err="1">
                <a:solidFill>
                  <a:srgbClr val="800000"/>
                </a:solidFill>
              </a:rPr>
              <a:t>Comirnaty</a:t>
            </a:r>
            <a:r>
              <a:rPr lang="pl-PL" sz="3200" dirty="0">
                <a:solidFill>
                  <a:srgbClr val="800000"/>
                </a:solidFill>
              </a:rPr>
              <a:t> 3 mikrogramy/dawkę koncentrat do sporządzania dyspersji do </a:t>
            </a:r>
            <a:r>
              <a:rPr lang="pl-PL" sz="3200" dirty="0" err="1">
                <a:solidFill>
                  <a:srgbClr val="800000"/>
                </a:solidFill>
              </a:rPr>
              <a:t>wstrzykiwań</a:t>
            </a:r>
            <a:endParaRPr lang="pl-PL" sz="3200" dirty="0">
              <a:solidFill>
                <a:srgbClr val="800000"/>
              </a:solidFill>
            </a:endParaRP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EB5CFBDE-F16D-43E5-9459-02B38A734E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484" y="1361895"/>
            <a:ext cx="11265031" cy="4351338"/>
          </a:xfrm>
        </p:spPr>
        <p:txBody>
          <a:bodyPr/>
          <a:lstStyle/>
          <a:p>
            <a:pPr marL="0" indent="0">
              <a:buNone/>
            </a:pPr>
            <a:r>
              <a:rPr lang="pl-PL" b="1" dirty="0"/>
              <a:t>Wskazania do stosowania</a:t>
            </a:r>
          </a:p>
          <a:p>
            <a:r>
              <a:rPr lang="pl-PL" dirty="0"/>
              <a:t>Produkt leczniczy </a:t>
            </a:r>
            <a:r>
              <a:rPr lang="pl-PL" dirty="0" err="1"/>
              <a:t>Comirnaty</a:t>
            </a:r>
            <a:r>
              <a:rPr lang="pl-PL" dirty="0"/>
              <a:t> 3 mikrogramy/dawkę koncentrat do sporządzania dyspersji do </a:t>
            </a:r>
            <a:r>
              <a:rPr lang="pl-PL" dirty="0" err="1"/>
              <a:t>wstrzykiwań</a:t>
            </a:r>
            <a:r>
              <a:rPr lang="pl-PL" dirty="0"/>
              <a:t> jest wskazany do czynnego uodparniania niemowląt i dzieci w wieku </a:t>
            </a:r>
            <a:r>
              <a:rPr lang="pl-PL" b="1" dirty="0"/>
              <a:t>od 6 miesięcy do 4 lat </a:t>
            </a:r>
            <a:r>
              <a:rPr lang="pl-PL" dirty="0"/>
              <a:t>w celu zapobiegania chorobie COVID-19 wywołanej przez wirusa SARS-CoV-2.</a:t>
            </a:r>
          </a:p>
          <a:p>
            <a:r>
              <a:rPr lang="pl-PL" dirty="0"/>
              <a:t>Szczepionkę należy stosować zgodnie z oficjalnymi zaleceniami</a:t>
            </a:r>
          </a:p>
          <a:p>
            <a:endParaRPr lang="pl-PL" dirty="0"/>
          </a:p>
          <a:p>
            <a:pPr marL="0" indent="0">
              <a:buNone/>
            </a:pPr>
            <a:r>
              <a:rPr lang="pl-PL" b="1" dirty="0"/>
              <a:t>Skład jakościowy i ilościowy</a:t>
            </a:r>
            <a:endParaRPr lang="pl-PL" sz="1800" b="0" i="0" u="none" strike="noStrike" baseline="0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pl-PL" b="0" i="0" u="none" strike="noStrike" baseline="0" dirty="0">
                <a:solidFill>
                  <a:srgbClr val="000000"/>
                </a:solidFill>
              </a:rPr>
              <a:t> Fiolka wielodawkowa z kasztanowym wieczkiem, której zawartość należy rozcieńczyć przed użyciem. </a:t>
            </a:r>
          </a:p>
          <a:p>
            <a:r>
              <a:rPr lang="pl-PL" b="0" i="0" u="none" strike="noStrike" baseline="0" dirty="0">
                <a:solidFill>
                  <a:srgbClr val="000000"/>
                </a:solidFill>
              </a:rPr>
              <a:t>Jedna fiolka (0,4 ml) po rozcieńczeniu zawiera </a:t>
            </a:r>
            <a:r>
              <a:rPr lang="pl-PL" b="1" i="0" u="none" strike="noStrike" baseline="0" dirty="0">
                <a:solidFill>
                  <a:srgbClr val="000000"/>
                </a:solidFill>
              </a:rPr>
              <a:t>10 dawek po 0,2 ml</a:t>
            </a:r>
            <a:r>
              <a:rPr lang="pl-PL" b="0" i="0" u="none" strike="noStrike" baseline="0" dirty="0">
                <a:solidFill>
                  <a:srgbClr val="000000"/>
                </a:solidFill>
              </a:rPr>
              <a:t>. </a:t>
            </a:r>
          </a:p>
          <a:p>
            <a:r>
              <a:rPr lang="pl-PL" b="0" i="0" u="none" strike="noStrike" baseline="0" dirty="0">
                <a:solidFill>
                  <a:srgbClr val="000000"/>
                </a:solidFill>
              </a:rPr>
              <a:t>Jedna dawka (0,2 ml) zawiera </a:t>
            </a:r>
            <a:r>
              <a:rPr lang="pl-PL" b="1" i="0" u="none" strike="noStrike" baseline="0" dirty="0">
                <a:solidFill>
                  <a:srgbClr val="000000"/>
                </a:solidFill>
              </a:rPr>
              <a:t>3 mikrogramy </a:t>
            </a:r>
            <a:r>
              <a:rPr lang="pl-PL" b="1" i="0" u="none" strike="noStrike" baseline="0" dirty="0" err="1">
                <a:solidFill>
                  <a:srgbClr val="000000"/>
                </a:solidFill>
              </a:rPr>
              <a:t>tozinameranu</a:t>
            </a:r>
            <a:r>
              <a:rPr lang="pl-PL" b="0" i="0" u="none" strike="noStrike" baseline="0" dirty="0">
                <a:solidFill>
                  <a:srgbClr val="000000"/>
                </a:solidFill>
              </a:rPr>
              <a:t>, szczepionki mRNA przeciw COVID-19 (zawartej w nanocząsteczkach lipidowych). </a:t>
            </a:r>
          </a:p>
          <a:p>
            <a:r>
              <a:rPr lang="pl-PL" b="1" i="0" u="none" strike="noStrike" baseline="0" dirty="0" err="1">
                <a:solidFill>
                  <a:srgbClr val="000000"/>
                </a:solidFill>
              </a:rPr>
              <a:t>Tozinameran</a:t>
            </a:r>
            <a:r>
              <a:rPr lang="pl-PL" b="0" i="0" u="none" strike="noStrike" baseline="0" dirty="0">
                <a:solidFill>
                  <a:srgbClr val="000000"/>
                </a:solidFill>
              </a:rPr>
              <a:t> jest jednoniciowym, informacyjnym RNA (ang. </a:t>
            </a:r>
            <a:r>
              <a:rPr lang="pl-PL" b="0" i="0" u="none" strike="noStrike" baseline="0" dirty="0" err="1">
                <a:solidFill>
                  <a:srgbClr val="000000"/>
                </a:solidFill>
              </a:rPr>
              <a:t>messenger</a:t>
            </a:r>
            <a:r>
              <a:rPr lang="pl-PL" b="0" i="0" u="none" strike="noStrike" baseline="0" dirty="0">
                <a:solidFill>
                  <a:srgbClr val="000000"/>
                </a:solidFill>
              </a:rPr>
              <a:t> RNA, mRNA) z czapeczką na końcu 5’, wytwarzanym z wykorzystaniem bezkomórkowej transkrypcji </a:t>
            </a:r>
            <a:r>
              <a:rPr lang="pl-PL" b="0" i="1" u="none" strike="noStrike" baseline="0" dirty="0">
                <a:solidFill>
                  <a:srgbClr val="000000"/>
                </a:solidFill>
              </a:rPr>
              <a:t>in vitro </a:t>
            </a:r>
            <a:r>
              <a:rPr lang="pl-PL" b="0" i="0" u="none" strike="noStrike" baseline="0" dirty="0">
                <a:solidFill>
                  <a:srgbClr val="000000"/>
                </a:solidFill>
              </a:rPr>
              <a:t>na matrycy DNA, kodującym białko szczytowe (ang. </a:t>
            </a:r>
            <a:r>
              <a:rPr lang="pl-PL" b="0" i="0" u="none" strike="noStrike" baseline="0" dirty="0" err="1">
                <a:solidFill>
                  <a:srgbClr val="000000"/>
                </a:solidFill>
              </a:rPr>
              <a:t>spike</a:t>
            </a:r>
            <a:r>
              <a:rPr lang="pl-PL" b="0" i="0" u="none" strike="noStrike" baseline="0" dirty="0">
                <a:solidFill>
                  <a:srgbClr val="000000"/>
                </a:solidFill>
              </a:rPr>
              <a:t>, S) wirusa SARS-CoV-2. </a:t>
            </a:r>
            <a:endParaRPr lang="pl-PL" b="1" dirty="0"/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96C02AC0-00C1-45CF-88C5-8E776D2788D8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</p:spTree>
    <p:extLst>
      <p:ext uri="{BB962C8B-B14F-4D97-AF65-F5344CB8AC3E}">
        <p14:creationId xmlns:p14="http://schemas.microsoft.com/office/powerpoint/2010/main" val="855767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A937B-5107-4748-B856-F3F305E55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800" dirty="0">
                <a:solidFill>
                  <a:schemeClr val="tx1"/>
                </a:solidFill>
              </a:rPr>
              <a:t>Strona internetowa </a:t>
            </a:r>
            <a:r>
              <a:rPr lang="pl-PL" sz="2800" dirty="0" err="1">
                <a:solidFill>
                  <a:schemeClr val="tx1"/>
                </a:solidFill>
              </a:rPr>
              <a:t>Comirnaty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493D229-BDE9-4827-AD3A-1525EFB47ED2}"/>
              </a:ext>
            </a:extLst>
          </p:cNvPr>
          <p:cNvSpPr txBox="1">
            <a:spLocks/>
          </p:cNvSpPr>
          <p:nvPr/>
        </p:nvSpPr>
        <p:spPr bwMode="gray">
          <a:xfrm>
            <a:off x="461913" y="2844341"/>
            <a:ext cx="7867078" cy="1169317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128622" indent="-128622" algn="l" defTabSz="514487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243" indent="-95573" algn="l" defTabSz="514487" rtl="0" eaLnBrk="1" latinLnBrk="0" hangingPunct="1">
              <a:lnSpc>
                <a:spcPct val="90000"/>
              </a:lnSpc>
              <a:spcBef>
                <a:spcPts val="563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85865" indent="-96467" algn="l" defTabSz="514487" rtl="0" eaLnBrk="1" latinLnBrk="0" hangingPunct="1">
              <a:lnSpc>
                <a:spcPct val="90000"/>
              </a:lnSpc>
              <a:spcBef>
                <a:spcPts val="281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487" indent="-96467" algn="l" defTabSz="514487" rtl="0" eaLnBrk="1" latinLnBrk="0" hangingPunct="1">
              <a:lnSpc>
                <a:spcPct val="90000"/>
              </a:lnSpc>
              <a:spcBef>
                <a:spcPts val="113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12740" indent="-64311" algn="l" defTabSz="514487" rtl="0" eaLnBrk="1" latinLnBrk="0" hangingPunct="1">
              <a:lnSpc>
                <a:spcPct val="90000"/>
              </a:lnSpc>
              <a:spcBef>
                <a:spcPts val="56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4840" indent="-128622" algn="l" defTabSz="5144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72083" indent="-128622" algn="l" defTabSz="5144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9327" indent="-128622" algn="l" defTabSz="5144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86570" indent="-128622" algn="l" defTabSz="5144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pl-PL" sz="1800" dirty="0">
                <a:solidFill>
                  <a:srgbClr val="5C2483"/>
                </a:solidFill>
                <a:latin typeface="Arial"/>
              </a:rPr>
              <a:t>Przygotowywana we współpracy z EMA.</a:t>
            </a:r>
          </a:p>
          <a:p>
            <a:pPr>
              <a:buClr>
                <a:srgbClr val="000000"/>
              </a:buClr>
              <a:defRPr/>
            </a:pPr>
            <a:r>
              <a:rPr lang="pl-PL" sz="1800" dirty="0">
                <a:solidFill>
                  <a:srgbClr val="5C2483"/>
                </a:solidFill>
                <a:latin typeface="Arial"/>
              </a:rPr>
              <a:t>Wspólna dla krajów EU-27 – możliwość wybrania kraju i materiały w danym języku.</a:t>
            </a:r>
          </a:p>
          <a:p>
            <a:pPr>
              <a:buClr>
                <a:srgbClr val="000000"/>
              </a:buClr>
              <a:defRPr/>
            </a:pPr>
            <a:r>
              <a:rPr lang="pl-PL" sz="1800" dirty="0">
                <a:solidFill>
                  <a:srgbClr val="5C2483"/>
                </a:solidFill>
                <a:latin typeface="Arial"/>
              </a:rPr>
              <a:t>Do pobrania materiały pdf w tym </a:t>
            </a:r>
            <a:r>
              <a:rPr lang="pl-PL" sz="1800" dirty="0" err="1">
                <a:solidFill>
                  <a:srgbClr val="5C2483"/>
                </a:solidFill>
                <a:latin typeface="Arial"/>
              </a:rPr>
              <a:t>ChPL</a:t>
            </a:r>
            <a:r>
              <a:rPr lang="pl-PL" sz="1800" dirty="0">
                <a:solidFill>
                  <a:srgbClr val="5C2483"/>
                </a:solidFill>
                <a:latin typeface="Arial"/>
              </a:rPr>
              <a:t> i Ulotka dla pacjenta, Przewodnik po postaciach.</a:t>
            </a:r>
          </a:p>
          <a:p>
            <a:pPr>
              <a:buClr>
                <a:srgbClr val="000000"/>
              </a:buClr>
              <a:defRPr/>
            </a:pPr>
            <a:r>
              <a:rPr lang="pl-PL" sz="1800" dirty="0">
                <a:solidFill>
                  <a:srgbClr val="5C2483"/>
                </a:solidFill>
                <a:latin typeface="Arial"/>
              </a:rPr>
              <a:t>Obecnie wprowadzamy aktualizacje pod kątem nowych postaci farmaceutycznych dla dzieci.</a:t>
            </a:r>
          </a:p>
          <a:p>
            <a:pPr>
              <a:buClr>
                <a:srgbClr val="000000"/>
              </a:buClr>
              <a:defRPr/>
            </a:pPr>
            <a:endParaRPr lang="pl-PL" sz="101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E801207-7BED-41C8-AEE3-53BA3DE5A068}"/>
              </a:ext>
            </a:extLst>
          </p:cNvPr>
          <p:cNvSpPr txBox="1">
            <a:spLocks/>
          </p:cNvSpPr>
          <p:nvPr/>
        </p:nvSpPr>
        <p:spPr bwMode="gray">
          <a:xfrm>
            <a:off x="567280" y="1304336"/>
            <a:ext cx="4039302" cy="913135"/>
          </a:xfrm>
          <a:prstGeom prst="rect">
            <a:avLst/>
          </a:prstGeom>
          <a:noFill/>
        </p:spPr>
        <p:txBody>
          <a:bodyPr vert="horz" wrap="square" lIns="68580" tIns="34290" rIns="68580" bIns="34290" rtlCol="0">
            <a:noAutofit/>
          </a:bodyPr>
          <a:lstStyle>
            <a:lvl1pPr marL="0" indent="0" algn="l" defTabSz="514487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35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57243" indent="-95573" algn="l" defTabSz="5144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en-US" sz="123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385865" indent="-96467" algn="l" defTabSz="5144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en-US" sz="123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514487" indent="-96467" algn="l" defTabSz="5144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en-US" sz="1238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612740" indent="-64311" algn="l" defTabSz="51448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lang="en-US" sz="1238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414840" indent="-128622" algn="l" defTabSz="5144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72083" indent="-128622" algn="l" defTabSz="5144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9327" indent="-128622" algn="l" defTabSz="5144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86570" indent="-128622" algn="l" defTabSz="5144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pl-PL" sz="2475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  <a:p>
            <a:pPr>
              <a:buClr>
                <a:srgbClr val="000000"/>
              </a:buClr>
              <a:defRPr/>
            </a:pPr>
            <a:r>
              <a:rPr lang="pl-PL" sz="2475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  <a:hlinkClick r:id="rId3"/>
              </a:rPr>
              <a:t>www.comirnatyeducation.pl</a:t>
            </a:r>
            <a:endParaRPr lang="pl-PL" sz="2475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  <a:p>
            <a:pPr>
              <a:buClr>
                <a:srgbClr val="000000"/>
              </a:buClr>
              <a:defRPr/>
            </a:pPr>
            <a:r>
              <a:rPr lang="pl-PL" sz="2475" dirty="0">
                <a:solidFill>
                  <a:schemeClr val="tx1"/>
                </a:solidFill>
                <a:latin typeface="Arial"/>
                <a:hlinkClick r:id="rId4"/>
              </a:rPr>
              <a:t>www.comirnatyglobal.com</a:t>
            </a:r>
            <a:endParaRPr lang="pl-PL" sz="2475" dirty="0">
              <a:solidFill>
                <a:schemeClr val="tx1"/>
              </a:solidFill>
              <a:latin typeface="Arial"/>
            </a:endParaRPr>
          </a:p>
          <a:p>
            <a:pPr>
              <a:buClr>
                <a:srgbClr val="000000"/>
              </a:buClr>
              <a:defRPr/>
            </a:pPr>
            <a:endParaRPr lang="pl-PL" sz="2475" dirty="0">
              <a:solidFill>
                <a:schemeClr val="tx1"/>
              </a:solidFill>
              <a:latin typeface="Arial"/>
            </a:endParaRPr>
          </a:p>
          <a:p>
            <a:pPr>
              <a:buClr>
                <a:srgbClr val="000000"/>
              </a:buClr>
              <a:defRPr/>
            </a:pPr>
            <a:endParaRPr lang="pl-PL" sz="2475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B73D48-0FCB-44B4-B43D-46240C5ED0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40148" y="149087"/>
            <a:ext cx="3853069" cy="291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1424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FB6D7-A6BC-4C63-BEC1-C451404C1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ktualizacja www.comirnatyeducation.pl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7A610F-C914-409B-B0DF-0499D90F24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1234" y="1623191"/>
            <a:ext cx="8289235" cy="440674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9197AD1-67BF-4A98-904D-B1007D475EE2}"/>
              </a:ext>
            </a:extLst>
          </p:cNvPr>
          <p:cNvSpPr/>
          <p:nvPr/>
        </p:nvSpPr>
        <p:spPr>
          <a:xfrm rot="20320574">
            <a:off x="-239555" y="1872452"/>
            <a:ext cx="7069225" cy="692497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pl-PL" sz="4050" b="1" spc="38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Informacja Ilustracyjna </a:t>
            </a:r>
            <a:endParaRPr lang="en-US" sz="4050" b="1" spc="38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AFB9C34-E12A-4B82-ABFA-D9C0DA54CD51}"/>
              </a:ext>
            </a:extLst>
          </p:cNvPr>
          <p:cNvSpPr/>
          <p:nvPr/>
        </p:nvSpPr>
        <p:spPr>
          <a:xfrm>
            <a:off x="7026966" y="3838039"/>
            <a:ext cx="1733862" cy="174928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013D31F-ADFC-4B65-AA7F-CBCB1B6D07F5}"/>
              </a:ext>
            </a:extLst>
          </p:cNvPr>
          <p:cNvSpPr/>
          <p:nvPr/>
        </p:nvSpPr>
        <p:spPr>
          <a:xfrm>
            <a:off x="5854148" y="3826563"/>
            <a:ext cx="1003852" cy="140824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2571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605A3DCA-2FD6-4225-B3BB-A2239C4B0A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3071324" y="1373545"/>
            <a:ext cx="5829300" cy="354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87612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2">
            <a:extLst>
              <a:ext uri="{FF2B5EF4-FFF2-40B4-BE49-F238E27FC236}">
                <a16:creationId xmlns:a16="http://schemas.microsoft.com/office/drawing/2014/main" id="{18C940D2-6EF5-4793-9802-E02A6017182D}"/>
              </a:ext>
            </a:extLst>
          </p:cNvPr>
          <p:cNvSpPr txBox="1"/>
          <p:nvPr/>
        </p:nvSpPr>
        <p:spPr>
          <a:xfrm>
            <a:off x="569259" y="396141"/>
            <a:ext cx="11053482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Przed zastosowaniem produktu leczniczego należy zapoznać się z Charakterystyką Produktu Leczniczego </a:t>
            </a:r>
            <a:r>
              <a:rPr lang="pl-PL" dirty="0" err="1"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 (szczepionka mRNA przeciw COVID-19 (ze zmodyfikowanymi nukleozydami).</a:t>
            </a:r>
          </a:p>
          <a:p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dirty="0" err="1"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 jest dostępna pod adresem:</a:t>
            </a:r>
          </a:p>
          <a:p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pfizerpro.com.pl/product/comirnaty/szczepionka-mrna-przeciw-covid-19</a:t>
            </a:r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l-PL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cs typeface="Arial" panose="020B0604020202020204" pitchFamily="34" charset="0"/>
              </a:rPr>
              <a:t>Informacji o leku udziela:												</a:t>
            </a:r>
          </a:p>
          <a:p>
            <a:r>
              <a:rPr lang="pl-PL" b="1" dirty="0">
                <a:latin typeface="Arial" panose="020B0604020202020204" pitchFamily="34" charset="0"/>
                <a:cs typeface="Arial" panose="020B0604020202020204" pitchFamily="34" charset="0"/>
              </a:rPr>
              <a:t>Pfizer Polska Sp. z o.o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.					</a:t>
            </a: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ul. Żwirki i Wigury 16B</a:t>
            </a: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02-092 Warszawa						</a:t>
            </a: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tel. +48 (22) 335 61 00					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r>
              <a:rPr lang="pl-PL" dirty="0"/>
              <a:t> 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44A73A85-D8CD-4691-85E6-8C291DE47958}"/>
              </a:ext>
            </a:extLst>
          </p:cNvPr>
          <p:cNvSpPr txBox="1"/>
          <p:nvPr/>
        </p:nvSpPr>
        <p:spPr>
          <a:xfrm>
            <a:off x="4787162" y="2337653"/>
            <a:ext cx="6835579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>
                <a:latin typeface="Arial" panose="020B0604020202020204" pitchFamily="34" charset="0"/>
                <a:cs typeface="Arial" panose="020B0604020202020204" pitchFamily="34" charset="0"/>
              </a:rPr>
              <a:t>Zgłaszanie Działań Niepożądanych:</a:t>
            </a: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W przypadku wystąpienia działania niepożądanego produktu leczniczego firmy Pfizer prosimy o kontakt z naszym Działem Monitorowania Bezpieczeństwa Leku:</a:t>
            </a: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Tel. 22 335 63 26</a:t>
            </a:r>
          </a:p>
          <a:p>
            <a:endParaRPr lang="pl-P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albo o przesłanie opisu działania niepożądanego </a:t>
            </a: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wraz ze zwrotnymi danymi kontaktowymi na adres:</a:t>
            </a:r>
          </a:p>
          <a:p>
            <a:endParaRPr lang="pl-P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Pfizer Polska Sp. z o.o.</a:t>
            </a: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ul. Żwirki i Wigury 16 B</a:t>
            </a: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02-092 Warszawa</a:t>
            </a:r>
          </a:p>
          <a:p>
            <a:endParaRPr lang="pl-P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bądź elektronicznie: </a:t>
            </a:r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POL.AEReporting@pfizer.com</a:t>
            </a:r>
            <a:endParaRPr lang="pl-PL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l-PL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A212FE28-6632-4B61-AB4A-55FC654C5E70}"/>
              </a:ext>
            </a:extLst>
          </p:cNvPr>
          <p:cNvSpPr txBox="1"/>
          <p:nvPr/>
        </p:nvSpPr>
        <p:spPr>
          <a:xfrm>
            <a:off x="340658" y="6382871"/>
            <a:ext cx="20080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-POL-CVV-0017</a:t>
            </a:r>
          </a:p>
        </p:txBody>
      </p:sp>
    </p:spTree>
    <p:extLst>
      <p:ext uri="{BB962C8B-B14F-4D97-AF65-F5344CB8AC3E}">
        <p14:creationId xmlns:p14="http://schemas.microsoft.com/office/powerpoint/2010/main" val="18054348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0607A59-B04D-4E5B-81F5-0BF25188D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295" y="18255"/>
            <a:ext cx="10515600" cy="1325563"/>
          </a:xfrm>
        </p:spPr>
        <p:txBody>
          <a:bodyPr/>
          <a:lstStyle/>
          <a:p>
            <a:r>
              <a:rPr kumimoji="0" lang="pl-PL" sz="2900" b="0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dukt leczniczy </a:t>
            </a:r>
            <a:r>
              <a:rPr kumimoji="0" lang="pl-PL" sz="2900" b="0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mirnaty</a:t>
            </a:r>
            <a:r>
              <a:rPr kumimoji="0" lang="pl-PL" sz="2900" b="0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3 mikrogramy/dawkę koncentrat do sporządzania dyspersji do </a:t>
            </a:r>
            <a:r>
              <a:rPr kumimoji="0" lang="pl-PL" sz="2900" b="0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strzykiwań</a:t>
            </a:r>
            <a:endParaRPr lang="pl-PL" dirty="0">
              <a:solidFill>
                <a:srgbClr val="800000"/>
              </a:solidFill>
              <a:latin typeface="+mn-lt"/>
            </a:endParaRP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1713FA76-DF2B-4B36-9BA5-9BE26FEB75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484" y="1611786"/>
            <a:ext cx="11265031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/>
              <a:t>Pełna informacja m.in. o:</a:t>
            </a:r>
          </a:p>
          <a:p>
            <a:r>
              <a:rPr lang="pl-PL" dirty="0"/>
              <a:t>Przeciwwskazaniach</a:t>
            </a:r>
          </a:p>
          <a:p>
            <a:r>
              <a:rPr lang="pl-PL" dirty="0"/>
              <a:t>Specjalnych ostrzeżeniach i środkach ostrożności dotyczące stosowania</a:t>
            </a:r>
          </a:p>
          <a:p>
            <a:r>
              <a:rPr lang="pl-PL" dirty="0"/>
              <a:t>Interakcjach z innymi produktami leczniczymi</a:t>
            </a:r>
          </a:p>
          <a:p>
            <a:r>
              <a:rPr lang="pl-PL" dirty="0"/>
              <a:t>Działaniach niepożądanych</a:t>
            </a:r>
          </a:p>
          <a:p>
            <a:r>
              <a:rPr lang="pl-PL" dirty="0"/>
              <a:t>Skuteczności</a:t>
            </a:r>
          </a:p>
          <a:p>
            <a:endParaRPr lang="pl-PL" dirty="0"/>
          </a:p>
          <a:p>
            <a:pPr marL="0" indent="0">
              <a:buNone/>
            </a:pPr>
            <a:r>
              <a:rPr lang="pl-PL" dirty="0"/>
              <a:t>znajduje się w Charakterystyce Produktu Leczniczego </a:t>
            </a:r>
            <a:r>
              <a:rPr lang="pl-PL" dirty="0" err="1"/>
              <a:t>Comirnaty</a:t>
            </a:r>
            <a:r>
              <a:rPr lang="pl-PL" dirty="0"/>
              <a:t> 3 mikrogramy/dawkę, która znajduje się na:</a:t>
            </a:r>
          </a:p>
          <a:p>
            <a:pPr marL="0" indent="0">
              <a:buNone/>
            </a:pPr>
            <a:r>
              <a:rPr lang="pl-PL" dirty="0">
                <a:hlinkClick r:id="rId2"/>
              </a:rPr>
              <a:t>https://www.comirnatyeducation.pl/</a:t>
            </a:r>
            <a:endParaRPr lang="pl-PL" dirty="0"/>
          </a:p>
          <a:p>
            <a:pPr marL="0" indent="0">
              <a:buNone/>
            </a:pPr>
            <a:r>
              <a:rPr lang="pl-PL" dirty="0">
                <a:hlinkClick r:id="rId3"/>
              </a:rPr>
              <a:t>https://www.pfizerpro.com.pl/product/comirnaty/szczepionka-mrna-przeciw-covid-19</a:t>
            </a:r>
            <a:endParaRPr lang="pl-PL" dirty="0"/>
          </a:p>
          <a:p>
            <a:pPr marL="0" indent="0">
              <a:buNone/>
            </a:pPr>
            <a:r>
              <a:rPr lang="pl-PL" dirty="0">
                <a:hlinkClick r:id="rId4"/>
              </a:rPr>
              <a:t>https://www.ema.europa.eu/en/documents/product-information/comirnaty-epar-product-information_pl.pdf</a:t>
            </a: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/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09812C8C-14AD-4EE6-82F6-7C623C78D10D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</p:spTree>
    <p:extLst>
      <p:ext uri="{BB962C8B-B14F-4D97-AF65-F5344CB8AC3E}">
        <p14:creationId xmlns:p14="http://schemas.microsoft.com/office/powerpoint/2010/main" val="706098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7332A8-728D-B34B-9AF3-FA0892D9C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800000"/>
                </a:solidFill>
              </a:rPr>
              <a:t>Przechowywanie</a:t>
            </a:r>
            <a:endParaRPr lang="en-US" dirty="0">
              <a:solidFill>
                <a:srgbClr val="8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480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CF7210F-01F3-4E0D-9FDA-DDA419F120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400" progId="TCLayout.ActiveDocument.1">
                  <p:embed/>
                </p:oleObj>
              </mc:Choice>
              <mc:Fallback>
                <p:oleObj name="think-cell Slide" r:id="rId5" imgW="399" imgH="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CF7210F-01F3-4E0D-9FDA-DDA419F120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B0AD919-7EA7-44B4-B1EF-1EC2ED8F20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0890A82-4C48-42B9-B434-7C799B4EB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431" y="455108"/>
            <a:ext cx="11562592" cy="747842"/>
          </a:xfrm>
        </p:spPr>
        <p:txBody>
          <a:bodyPr>
            <a:noAutofit/>
          </a:bodyPr>
          <a:lstStyle/>
          <a:p>
            <a:r>
              <a:rPr lang="pl-PL" sz="3200" dirty="0">
                <a:solidFill>
                  <a:schemeClr val="tx1"/>
                </a:solidFill>
              </a:rPr>
              <a:t>Przechowywanie szczepionki </a:t>
            </a:r>
            <a:r>
              <a:rPr lang="pl-PL" sz="3200" dirty="0" err="1">
                <a:solidFill>
                  <a:schemeClr val="tx1"/>
                </a:solidFill>
              </a:rPr>
              <a:t>Comirnaty</a:t>
            </a:r>
            <a:r>
              <a:rPr lang="pl-PL" sz="3200" dirty="0">
                <a:solidFill>
                  <a:schemeClr val="tx1"/>
                </a:solidFill>
              </a:rPr>
              <a:t> 3 mikrogramy/dawkę </a:t>
            </a:r>
            <a:r>
              <a:rPr lang="en-US" sz="3200" dirty="0">
                <a:solidFill>
                  <a:schemeClr val="tx1"/>
                </a:solidFill>
              </a:rPr>
              <a:t>:</a:t>
            </a:r>
            <a:br>
              <a:rPr lang="en-US" dirty="0">
                <a:solidFill>
                  <a:srgbClr val="FE9E2C"/>
                </a:solidFill>
              </a:rPr>
            </a:br>
            <a:r>
              <a:rPr lang="pl-PL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Stosowanie u dzieci od 6 </a:t>
            </a:r>
            <a:r>
              <a:rPr lang="en-US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 </a:t>
            </a:r>
            <a:r>
              <a:rPr lang="pl-PL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miesięcy do </a:t>
            </a:r>
            <a:r>
              <a:rPr lang="en-US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4 </a:t>
            </a:r>
            <a:r>
              <a:rPr lang="pl-PL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lat</a:t>
            </a:r>
            <a:br>
              <a:rPr lang="en-US" sz="2000" b="1" i="1" kern="0" dirty="0">
                <a:solidFill>
                  <a:srgbClr val="FE9E2C"/>
                </a:solidFill>
                <a:latin typeface="Arial" panose="020B0604020202020204"/>
                <a:cs typeface="Arial" panose="020B0604020202020204" pitchFamily="34" charset="0"/>
              </a:rPr>
            </a:br>
            <a:endParaRPr lang="en-US" sz="1800" i="1" dirty="0">
              <a:solidFill>
                <a:srgbClr val="FE9E2C"/>
              </a:solidFill>
            </a:endParaRPr>
          </a:p>
        </p:txBody>
      </p:sp>
      <p:graphicFrame>
        <p:nvGraphicFramePr>
          <p:cNvPr id="62" name="Table 7">
            <a:extLst>
              <a:ext uri="{FF2B5EF4-FFF2-40B4-BE49-F238E27FC236}">
                <a16:creationId xmlns:a16="http://schemas.microsoft.com/office/drawing/2014/main" id="{8FAA5A4E-5422-4D6A-A350-B407BDA6CC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478316"/>
              </p:ext>
            </p:extLst>
          </p:nvPr>
        </p:nvGraphicFramePr>
        <p:xfrm>
          <a:off x="466432" y="2300928"/>
          <a:ext cx="11429874" cy="3214614"/>
        </p:xfrm>
        <a:graphic>
          <a:graphicData uri="http://schemas.openxmlformats.org/drawingml/2006/table">
            <a:tbl>
              <a:tblPr firstRow="1" bandRow="1">
                <a:solidFill>
                  <a:srgbClr val="5C2A34"/>
                </a:solidFill>
              </a:tblPr>
              <a:tblGrid>
                <a:gridCol w="3809958">
                  <a:extLst>
                    <a:ext uri="{9D8B030D-6E8A-4147-A177-3AD203B41FA5}">
                      <a16:colId xmlns:a16="http://schemas.microsoft.com/office/drawing/2014/main" val="3979559174"/>
                    </a:ext>
                  </a:extLst>
                </a:gridCol>
                <a:gridCol w="3809958">
                  <a:extLst>
                    <a:ext uri="{9D8B030D-6E8A-4147-A177-3AD203B41FA5}">
                      <a16:colId xmlns:a16="http://schemas.microsoft.com/office/drawing/2014/main" val="3070597671"/>
                    </a:ext>
                  </a:extLst>
                </a:gridCol>
                <a:gridCol w="3809958">
                  <a:extLst>
                    <a:ext uri="{9D8B030D-6E8A-4147-A177-3AD203B41FA5}">
                      <a16:colId xmlns:a16="http://schemas.microsoft.com/office/drawing/2014/main" val="361404038"/>
                    </a:ext>
                  </a:extLst>
                </a:gridCol>
              </a:tblGrid>
              <a:tr h="8240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Zamrażarka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ltraniskotemperaturowa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ULT)</a:t>
                      </a:r>
                    </a:p>
                  </a:txBody>
                  <a:tcPr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2A3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nsportowy pojemnik termiczny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fizer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556A">
                        <a:alpha val="32941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dówka</a:t>
                      </a:r>
                      <a:endParaRPr kumimoji="0" lang="en-US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59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414962"/>
                  </a:ext>
                </a:extLst>
              </a:tr>
              <a:tr h="6031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90 ºC to -60 ºC</a:t>
                      </a:r>
                      <a:b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endParaRPr kumimoji="0" lang="en-US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2A3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90 ºC to -60 ºC </a:t>
                      </a:r>
                      <a:b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endParaRPr kumimoji="0" lang="en-US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556A">
                        <a:alpha val="32941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°C to 8 °C</a:t>
                      </a:r>
                      <a:b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endParaRPr kumimoji="0" lang="en-US" sz="1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59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16016"/>
                  </a:ext>
                </a:extLst>
              </a:tr>
              <a:tr h="9176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że być przechowywany do 18 miesięcy </a:t>
                      </a:r>
                      <a:b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50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2A3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żliwość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zechowywania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o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 </a:t>
                      </a:r>
                      <a:r>
                        <a:rPr kumimoji="0" lang="en-US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ni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b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pl-PL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 tej temperaturze, jeśli pojemnik jest systematycznie uzupełniany do pełna suchym lodem*
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1000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556A">
                        <a:alpha val="32941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żliwość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zechowywania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o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 </a:t>
                      </a:r>
                      <a:r>
                        <a:rPr kumimoji="0" lang="en-US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ygodni</a:t>
                      </a:r>
                      <a:b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pl-PL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 tej temperaturze w czasie 18-miesięcznego okresu ważności, nie przekraczając wydrukowanego terminu ważności </a:t>
                      </a:r>
                      <a:endParaRPr lang="en-US" sz="10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28575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95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59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521726"/>
                  </a:ext>
                </a:extLst>
              </a:tr>
              <a:tr h="8425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5048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C2A3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1000C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556A">
                        <a:alpha val="32941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0095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59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788011"/>
                  </a:ext>
                </a:extLst>
              </a:tr>
            </a:tbl>
          </a:graphicData>
        </a:graphic>
      </p:graphicFrame>
      <p:pic>
        <p:nvPicPr>
          <p:cNvPr id="63" name="Graphic 62">
            <a:extLst>
              <a:ext uri="{FF2B5EF4-FFF2-40B4-BE49-F238E27FC236}">
                <a16:creationId xmlns:a16="http://schemas.microsoft.com/office/drawing/2014/main" id="{FA81E0B7-5156-4F31-8C3B-9EC0BEBDB2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1982646" y="2315334"/>
            <a:ext cx="642745" cy="642745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7AD8AD44-846D-4135-B197-CD8D651D07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71934" y="2395078"/>
            <a:ext cx="535042" cy="483257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7529120D-65E5-49CD-9572-8F552937A05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9654118" y="2312483"/>
            <a:ext cx="648447" cy="648447"/>
          </a:xfrm>
          <a:prstGeom prst="rect">
            <a:avLst/>
          </a:prstGeom>
        </p:spPr>
      </p:pic>
      <p:grpSp>
        <p:nvGrpSpPr>
          <p:cNvPr id="67" name="Group 66">
            <a:extLst>
              <a:ext uri="{FF2B5EF4-FFF2-40B4-BE49-F238E27FC236}">
                <a16:creationId xmlns:a16="http://schemas.microsoft.com/office/drawing/2014/main" id="{CDC54B3B-FB58-4BB7-8DB4-5BAFD26D25D3}"/>
              </a:ext>
            </a:extLst>
          </p:cNvPr>
          <p:cNvGrpSpPr/>
          <p:nvPr/>
        </p:nvGrpSpPr>
        <p:grpSpPr>
          <a:xfrm>
            <a:off x="2475768" y="5006183"/>
            <a:ext cx="7453419" cy="162560"/>
            <a:chOff x="2354055" y="4367021"/>
            <a:chExt cx="7453419" cy="162560"/>
          </a:xfrm>
        </p:grpSpPr>
        <p:cxnSp>
          <p:nvCxnSpPr>
            <p:cNvPr id="80" name="Straight Arrow Connector 79">
              <a:extLst>
                <a:ext uri="{FF2B5EF4-FFF2-40B4-BE49-F238E27FC236}">
                  <a16:creationId xmlns:a16="http://schemas.microsoft.com/office/drawing/2014/main" id="{F239CEDD-3E2B-4B2C-B35C-711E2B3525F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354055" y="4367021"/>
              <a:ext cx="3417809" cy="0"/>
            </a:xfrm>
            <a:prstGeom prst="straightConnector1">
              <a:avLst/>
            </a:prstGeom>
            <a:noFill/>
            <a:ln w="22225" cap="rnd">
              <a:solidFill>
                <a:srgbClr val="FFFFFF"/>
              </a:solidFill>
              <a:prstDash val="solid"/>
              <a:round/>
              <a:headEnd type="none"/>
              <a:tailEnd type="triangle" w="med" len="med"/>
            </a:ln>
            <a:effectLst/>
          </p:spPr>
        </p:cxnSp>
        <p:cxnSp>
          <p:nvCxnSpPr>
            <p:cNvPr id="81" name="Straight Arrow Connector 80">
              <a:extLst>
                <a:ext uri="{FF2B5EF4-FFF2-40B4-BE49-F238E27FC236}">
                  <a16:creationId xmlns:a16="http://schemas.microsoft.com/office/drawing/2014/main" id="{0E9C37AF-3502-4834-A80C-7990299AA41C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274497" y="4367021"/>
              <a:ext cx="3417809" cy="0"/>
            </a:xfrm>
            <a:prstGeom prst="straightConnector1">
              <a:avLst/>
            </a:prstGeom>
            <a:noFill/>
            <a:ln w="22225" cap="rnd">
              <a:solidFill>
                <a:srgbClr val="FFFFFF"/>
              </a:solidFill>
              <a:prstDash val="solid"/>
              <a:round/>
              <a:headEnd type="none"/>
              <a:tailEnd type="triangle" w="med" len="med"/>
            </a:ln>
            <a:effectLst/>
          </p:spPr>
        </p:cxnSp>
        <p:cxnSp>
          <p:nvCxnSpPr>
            <p:cNvPr id="82" name="Straight Arrow Connector 81">
              <a:extLst>
                <a:ext uri="{FF2B5EF4-FFF2-40B4-BE49-F238E27FC236}">
                  <a16:creationId xmlns:a16="http://schemas.microsoft.com/office/drawing/2014/main" id="{02BA2A63-C72F-4B6D-84EC-BC31655CFB78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2597490" y="4529581"/>
              <a:ext cx="3417809" cy="0"/>
            </a:xfrm>
            <a:prstGeom prst="straightConnector1">
              <a:avLst/>
            </a:prstGeom>
            <a:noFill/>
            <a:ln w="22225" cap="rnd">
              <a:solidFill>
                <a:srgbClr val="FFFFFF"/>
              </a:solidFill>
              <a:prstDash val="solid"/>
              <a:round/>
              <a:headEnd type="none"/>
              <a:tailEnd type="triangle" w="med" len="med"/>
            </a:ln>
            <a:effectLst/>
          </p:spPr>
        </p:cxn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C581D6B4-A442-4FBB-9056-9B8A856EEC7D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6389665" y="4529581"/>
              <a:ext cx="3417809" cy="0"/>
            </a:xfrm>
            <a:prstGeom prst="straightConnector1">
              <a:avLst/>
            </a:prstGeom>
            <a:noFill/>
            <a:ln w="22225" cap="rnd">
              <a:solidFill>
                <a:srgbClr val="FFFFFF"/>
              </a:solidFill>
              <a:prstDash val="sysDot"/>
              <a:round/>
              <a:headEnd type="none"/>
              <a:tailEnd type="triangle" w="med" len="med"/>
            </a:ln>
            <a:effectLst/>
          </p:spPr>
        </p:cxn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3C12C05F-CCFF-43AE-BE6B-8E08DAA58838}"/>
              </a:ext>
            </a:extLst>
          </p:cNvPr>
          <p:cNvGrpSpPr/>
          <p:nvPr/>
        </p:nvGrpSpPr>
        <p:grpSpPr>
          <a:xfrm>
            <a:off x="7978373" y="5059024"/>
            <a:ext cx="217286" cy="217286"/>
            <a:chOff x="6142518" y="4950494"/>
            <a:chExt cx="304712" cy="304712"/>
          </a:xfrm>
        </p:grpSpPr>
        <p:pic>
          <p:nvPicPr>
            <p:cNvPr id="78" name="Graphic 77">
              <a:extLst>
                <a:ext uri="{FF2B5EF4-FFF2-40B4-BE49-F238E27FC236}">
                  <a16:creationId xmlns:a16="http://schemas.microsoft.com/office/drawing/2014/main" id="{ABF32B51-33B7-4BDB-A0ED-EAAFC48A2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142518" y="4950494"/>
              <a:ext cx="304712" cy="304712"/>
            </a:xfrm>
            <a:prstGeom prst="rect">
              <a:avLst/>
            </a:prstGeom>
          </p:spPr>
        </p:pic>
        <p:pic>
          <p:nvPicPr>
            <p:cNvPr id="79" name="Graphic 78" descr="Close">
              <a:extLst>
                <a:ext uri="{FF2B5EF4-FFF2-40B4-BE49-F238E27FC236}">
                  <a16:creationId xmlns:a16="http://schemas.microsoft.com/office/drawing/2014/main" id="{8BA5C274-EFCF-4ED6-BC47-053AAED88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193456" y="5001432"/>
              <a:ext cx="202837" cy="202837"/>
            </a:xfrm>
            <a:prstGeom prst="rect">
              <a:avLst/>
            </a:prstGeom>
          </p:spPr>
        </p:pic>
      </p:grpSp>
      <p:sp>
        <p:nvSpPr>
          <p:cNvPr id="76" name="Oval 75">
            <a:extLst>
              <a:ext uri="{FF2B5EF4-FFF2-40B4-BE49-F238E27FC236}">
                <a16:creationId xmlns:a16="http://schemas.microsoft.com/office/drawing/2014/main" id="{B8DA8BE1-3DE9-4E96-A6DC-A5200F202A3C}"/>
              </a:ext>
            </a:extLst>
          </p:cNvPr>
          <p:cNvSpPr/>
          <p:nvPr/>
        </p:nvSpPr>
        <p:spPr bwMode="gray">
          <a:xfrm>
            <a:off x="5996748" y="4868086"/>
            <a:ext cx="438755" cy="438755"/>
          </a:xfrm>
          <a:prstGeom prst="ellipse">
            <a:avLst/>
          </a:prstGeom>
          <a:solidFill>
            <a:srgbClr val="FFFFFF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</a:endParaRPr>
          </a:p>
        </p:txBody>
      </p:sp>
      <p:pic>
        <p:nvPicPr>
          <p:cNvPr id="77" name="Graphic 76">
            <a:extLst>
              <a:ext uri="{FF2B5EF4-FFF2-40B4-BE49-F238E27FC236}">
                <a16:creationId xmlns:a16="http://schemas.microsoft.com/office/drawing/2014/main" id="{AC073602-C9C5-4F5D-B61E-345B799F253A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27947" t="10886" r="32259" b="13183"/>
          <a:stretch/>
        </p:blipFill>
        <p:spPr>
          <a:xfrm>
            <a:off x="6118164" y="4900538"/>
            <a:ext cx="195923" cy="373850"/>
          </a:xfrm>
          <a:prstGeom prst="rect">
            <a:avLst/>
          </a:prstGeom>
          <a:effectLst/>
        </p:spPr>
      </p:pic>
      <p:sp>
        <p:nvSpPr>
          <p:cNvPr id="74" name="Oval 73">
            <a:extLst>
              <a:ext uri="{FF2B5EF4-FFF2-40B4-BE49-F238E27FC236}">
                <a16:creationId xmlns:a16="http://schemas.microsoft.com/office/drawing/2014/main" id="{99503BAB-F1F9-4D8C-8894-FF30CBEFD98F}"/>
              </a:ext>
            </a:extLst>
          </p:cNvPr>
          <p:cNvSpPr/>
          <p:nvPr/>
        </p:nvSpPr>
        <p:spPr bwMode="gray">
          <a:xfrm>
            <a:off x="9835906" y="4868086"/>
            <a:ext cx="438755" cy="438755"/>
          </a:xfrm>
          <a:prstGeom prst="ellipse">
            <a:avLst/>
          </a:prstGeom>
          <a:solidFill>
            <a:srgbClr val="FFFFFF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</a:endParaRPr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5E2DAFCC-C2D1-4069-8B9F-BECA4ADACD16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27947" t="10886" r="32259" b="13183"/>
          <a:stretch/>
        </p:blipFill>
        <p:spPr>
          <a:xfrm>
            <a:off x="9957322" y="4900538"/>
            <a:ext cx="195923" cy="373850"/>
          </a:xfrm>
          <a:prstGeom prst="rect">
            <a:avLst/>
          </a:prstGeom>
          <a:effectLst/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7CC6F48E-B15B-4B96-8B66-647E23453ACA}"/>
              </a:ext>
            </a:extLst>
          </p:cNvPr>
          <p:cNvSpPr/>
          <p:nvPr/>
        </p:nvSpPr>
        <p:spPr bwMode="gray">
          <a:xfrm>
            <a:off x="2134372" y="4868086"/>
            <a:ext cx="438755" cy="438755"/>
          </a:xfrm>
          <a:prstGeom prst="ellipse">
            <a:avLst/>
          </a:prstGeom>
          <a:solidFill>
            <a:srgbClr val="FFFFFF"/>
          </a:solidFill>
          <a:ln w="254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rgbClr val="0095FF"/>
              </a:buClr>
              <a:buSzPct val="90000"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C9"/>
              </a:solidFill>
              <a:effectLst/>
              <a:uLnTx/>
              <a:uFillTx/>
            </a:endParaRP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DD73CC15-88CB-40A2-8FC1-DE5190117799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27947" t="10886" r="32259" b="13183"/>
          <a:stretch/>
        </p:blipFill>
        <p:spPr>
          <a:xfrm>
            <a:off x="2255788" y="4900538"/>
            <a:ext cx="195923" cy="373850"/>
          </a:xfrm>
          <a:prstGeom prst="rect">
            <a:avLst/>
          </a:prstGeom>
          <a:effectLst/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FB1047BB-E038-4AFB-AA13-3B457EA721DB}"/>
              </a:ext>
            </a:extLst>
          </p:cNvPr>
          <p:cNvSpPr txBox="1"/>
          <p:nvPr/>
        </p:nvSpPr>
        <p:spPr bwMode="gray">
          <a:xfrm>
            <a:off x="4117695" y="5288319"/>
            <a:ext cx="41647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pl-PL" sz="1100" i="1" kern="0" dirty="0">
                <a:solidFill>
                  <a:srgbClr val="FFFFFF"/>
                </a:solidFill>
              </a:rPr>
              <a:t>Po rozmrożeniu szczepionki nie należy jej ponownie zamrażać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 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0CB2556-F477-4408-BCE4-48A0743ECD0D}"/>
              </a:ext>
            </a:extLst>
          </p:cNvPr>
          <p:cNvSpPr txBox="1"/>
          <p:nvPr/>
        </p:nvSpPr>
        <p:spPr bwMode="gray">
          <a:xfrm>
            <a:off x="466432" y="1879592"/>
            <a:ext cx="11562592" cy="246221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bIns="0" anchor="ctr">
            <a:spAutoFit/>
          </a:bodyPr>
          <a:lstStyle/>
          <a:p>
            <a:r>
              <a:rPr lang="pl-PL" sz="1600" dirty="0"/>
              <a:t>Termin ważności produktu wynosi 18 miesięcy. W ciągu 18 miesięcy dostępne są następujące opcje przechowywania:</a:t>
            </a:r>
            <a:endParaRPr lang="en-US" sz="16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A2ED3FDB-C007-4615-A098-E77E6FFEA43C}"/>
              </a:ext>
            </a:extLst>
          </p:cNvPr>
          <p:cNvSpPr txBox="1">
            <a:spLocks/>
          </p:cNvSpPr>
          <p:nvPr/>
        </p:nvSpPr>
        <p:spPr bwMode="gray">
          <a:xfrm>
            <a:off x="492271" y="5540280"/>
            <a:ext cx="11513701" cy="189558"/>
          </a:xfrm>
          <a:prstGeom prst="rect">
            <a:avLst/>
          </a:prstGeom>
        </p:spPr>
        <p:txBody>
          <a:bodyPr vert="horz" lIns="45720" tIns="0" rIns="45720" bIns="0" rtlCol="0" anchor="b">
            <a:noAutofit/>
          </a:bodyPr>
          <a:lstStyle>
            <a:lvl1pPr marL="228539" indent="-228539" algn="l" defTabSz="914154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578" algn="r"/>
                <a:tab pos="228539" algn="l"/>
              </a:tabLst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914400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pl-PL" sz="800" kern="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*Zapoznaj się z instrukcjami dotyczącymi uzupełniania suchego lodu, które dostępne są na stronie: www.comirnatyeducation.pl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.</a:t>
            </a: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5ED7F422-C223-4B27-8C37-0BE30BBFFFA5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</p:spTree>
    <p:extLst>
      <p:ext uri="{BB962C8B-B14F-4D97-AF65-F5344CB8AC3E}">
        <p14:creationId xmlns:p14="http://schemas.microsoft.com/office/powerpoint/2010/main" val="1625782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819F32C-7F94-4FBB-89F2-638014214BC6}"/>
              </a:ext>
            </a:extLst>
          </p:cNvPr>
          <p:cNvSpPr/>
          <p:nvPr/>
        </p:nvSpPr>
        <p:spPr bwMode="gray">
          <a:xfrm>
            <a:off x="519952" y="1623256"/>
            <a:ext cx="11443448" cy="4241867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pl-PL" sz="1800" b="1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zechowywanie w lodówce w temperaturze od 2°C do 8°C </a:t>
            </a:r>
          </a:p>
          <a:p>
            <a:r>
              <a:rPr lang="pl-PL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l-PL" sz="1800" b="0" i="1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tygodni przechowywania i przewożenia w temperaturze od 2°C do 8°C w czasie 18-miesięcznego okresu ważności)</a:t>
            </a:r>
          </a:p>
          <a:p>
            <a:endParaRPr lang="pl-PL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4000"/>
              </a:lnSpc>
            </a:pPr>
            <a:r>
              <a:rPr lang="pl-PL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Po przeniesieniu szczepionki do warunków przechowywania w temperaturze od 2°C do 8°C należy zapisać uaktualniony termin ważności na zewnętrznym pudełku tekturowym, a szczepionkę należy zużyć lub wyrzucić przed upływem uaktualnionego terminu ważności. Oryginalny termin ważności należy skreślić. </a:t>
            </a:r>
          </a:p>
          <a:p>
            <a:pPr>
              <a:lnSpc>
                <a:spcPct val="114000"/>
              </a:lnSpc>
            </a:pPr>
            <a:r>
              <a:rPr lang="pl-PL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Jeśli szczepionka została dostarczona w temperaturze od 2°C do 8°C, należy ją przechowywać w temperaturze od 2°C do 8°C. Należy sprawdzić, czy uaktualniono termin ważności na zewnętrznym pudełku tekturowym, podając termin ważności przechowywania w lodówce oraz czy skreślono oryginalny termin ważności. </a:t>
            </a:r>
          </a:p>
          <a:p>
            <a:endParaRPr lang="pl-PL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zed użyciem nieotwarte fiolki można przechowywać przez maksymalnie </a:t>
            </a:r>
            <a:r>
              <a:rPr lang="pl-PL" sz="18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godzin w temperaturze od 8°C do 30°C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2E6A49-A8F5-8949-8E3C-966F43F8A2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12" y="471774"/>
            <a:ext cx="11788588" cy="489366"/>
          </a:xfrm>
        </p:spPr>
        <p:txBody>
          <a:bodyPr>
            <a:noAutofit/>
          </a:bodyPr>
          <a:lstStyle/>
          <a:p>
            <a:r>
              <a:rPr lang="pl-PL" sz="3200" dirty="0">
                <a:solidFill>
                  <a:schemeClr val="tx1"/>
                </a:solidFill>
              </a:rPr>
              <a:t>Przechowywanie szczepionki </a:t>
            </a:r>
            <a:r>
              <a:rPr lang="pl-PL" sz="3200" dirty="0" err="1">
                <a:solidFill>
                  <a:schemeClr val="tx1"/>
                </a:solidFill>
              </a:rPr>
              <a:t>Comirnaty</a:t>
            </a:r>
            <a:r>
              <a:rPr lang="pl-PL" sz="3200" dirty="0">
                <a:solidFill>
                  <a:schemeClr val="tx1"/>
                </a:solidFill>
              </a:rPr>
              <a:t> 3 mikrogramy/dawkę</a:t>
            </a:r>
            <a:r>
              <a:rPr lang="en-US" sz="3200" dirty="0">
                <a:solidFill>
                  <a:schemeClr val="tx1"/>
                </a:solidFill>
              </a:rPr>
              <a:t>:</a:t>
            </a:r>
            <a:br>
              <a:rPr lang="en-US" sz="3200" dirty="0">
                <a:solidFill>
                  <a:srgbClr val="FE9E2C"/>
                </a:solidFill>
              </a:rPr>
            </a:br>
            <a:r>
              <a:rPr lang="pl-PL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Stosowanie u dzieci od 6 </a:t>
            </a:r>
            <a:r>
              <a:rPr lang="en-US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 </a:t>
            </a:r>
            <a:r>
              <a:rPr lang="pl-PL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miesięcy do </a:t>
            </a:r>
            <a:r>
              <a:rPr lang="en-US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4 </a:t>
            </a:r>
            <a:r>
              <a:rPr lang="pl-PL" sz="28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lat</a:t>
            </a:r>
            <a:endParaRPr lang="en-US" sz="3200" i="1" dirty="0">
              <a:solidFill>
                <a:schemeClr val="tx1"/>
              </a:solidFill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12BA263D-3C28-4B79-8F07-C005EFCA58E5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</p:spTree>
    <p:extLst>
      <p:ext uri="{BB962C8B-B14F-4D97-AF65-F5344CB8AC3E}">
        <p14:creationId xmlns:p14="http://schemas.microsoft.com/office/powerpoint/2010/main" val="3658586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3F287-87B8-BB4C-9C43-157D7FBC6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340" y="1426710"/>
            <a:ext cx="6234260" cy="2004423"/>
          </a:xfrm>
        </p:spPr>
        <p:txBody>
          <a:bodyPr>
            <a:normAutofit/>
          </a:bodyPr>
          <a:lstStyle/>
          <a:p>
            <a:r>
              <a:rPr lang="pl-PL" sz="4000" dirty="0">
                <a:solidFill>
                  <a:srgbClr val="800000"/>
                </a:solidFill>
              </a:rPr>
              <a:t>Przygotowania produktu leczniczego do stosowania</a:t>
            </a:r>
            <a:endParaRPr lang="en-US" sz="4000" dirty="0">
              <a:solidFill>
                <a:srgbClr val="80000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8CFAED-29F1-4A05-AD7A-A2C005D2C7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340" y="3931103"/>
            <a:ext cx="6234259" cy="1500187"/>
          </a:xfrm>
        </p:spPr>
        <p:txBody>
          <a:bodyPr/>
          <a:lstStyle/>
          <a:p>
            <a:r>
              <a:rPr lang="pl-PL" dirty="0">
                <a:solidFill>
                  <a:schemeClr val="tx1"/>
                </a:solidFill>
              </a:rPr>
              <a:t>PRZED PODANIEM SZCZEPIONKI NALEŻY ZAPOZNAĆ SIĘ Z ODPOWIEDNIĄ CHARAKTERYSTYKĄ PRODUKTU LECZNICZEGO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4252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ole tekstowe 28">
            <a:extLst>
              <a:ext uri="{FF2B5EF4-FFF2-40B4-BE49-F238E27FC236}">
                <a16:creationId xmlns:a16="http://schemas.microsoft.com/office/drawing/2014/main" id="{26363A65-D1B7-4752-92DA-CABBF4E6FD59}"/>
              </a:ext>
            </a:extLst>
          </p:cNvPr>
          <p:cNvSpPr txBox="1"/>
          <p:nvPr/>
        </p:nvSpPr>
        <p:spPr>
          <a:xfrm>
            <a:off x="224286" y="6368635"/>
            <a:ext cx="83956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kterystyka Produktu Leczniczego </a:t>
            </a:r>
            <a:r>
              <a:rPr lang="pl-PL" sz="10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rnaty</a:t>
            </a:r>
            <a:r>
              <a:rPr lang="pl-PL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z dnia 02.12.2022 </a:t>
            </a:r>
            <a:endParaRPr lang="pl-PL" sz="1000" dirty="0"/>
          </a:p>
        </p:txBody>
      </p:sp>
      <p:pic>
        <p:nvPicPr>
          <p:cNvPr id="23" name="Obraz 22">
            <a:extLst>
              <a:ext uri="{FF2B5EF4-FFF2-40B4-BE49-F238E27FC236}">
                <a16:creationId xmlns:a16="http://schemas.microsoft.com/office/drawing/2014/main" id="{C15ADB90-DC33-4BA1-A554-1F6E20EC40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227" y="1202950"/>
            <a:ext cx="9325474" cy="5608327"/>
          </a:xfrm>
          <a:prstGeom prst="rect">
            <a:avLst/>
          </a:prstGeom>
        </p:spPr>
      </p:pic>
      <p:sp>
        <p:nvSpPr>
          <p:cNvPr id="28" name="Title 4">
            <a:extLst>
              <a:ext uri="{FF2B5EF4-FFF2-40B4-BE49-F238E27FC236}">
                <a16:creationId xmlns:a16="http://schemas.microsoft.com/office/drawing/2014/main" id="{AB102F9E-4942-4782-ACB3-20BEA53EC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826" y="293183"/>
            <a:ext cx="11962348" cy="747842"/>
          </a:xfrm>
        </p:spPr>
        <p:txBody>
          <a:bodyPr>
            <a:noAutofit/>
          </a:bodyPr>
          <a:lstStyle/>
          <a:p>
            <a:r>
              <a:rPr lang="pl-PL" dirty="0">
                <a:solidFill>
                  <a:schemeClr val="tx1"/>
                </a:solidFill>
              </a:rPr>
              <a:t>COMIRNATY szczepionka mRNA przeciw COVID-19 (ze zmodyfikowanymi nukleozydami) – przewodnik po postaciach farmaceutycznych</a:t>
            </a:r>
            <a:r>
              <a:rPr lang="en-US" dirty="0">
                <a:solidFill>
                  <a:schemeClr val="tx1"/>
                </a:solidFill>
              </a:rPr>
              <a:t>:</a:t>
            </a:r>
            <a:br>
              <a:rPr lang="en-US" dirty="0">
                <a:solidFill>
                  <a:srgbClr val="FE9E2C"/>
                </a:solidFill>
              </a:rPr>
            </a:br>
            <a:r>
              <a:rPr lang="pl-PL" sz="2000" i="1" kern="0" dirty="0">
                <a:solidFill>
                  <a:srgbClr val="5C2A34"/>
                </a:solidFill>
                <a:latin typeface="Arial" panose="020B0604020202020204"/>
                <a:cs typeface="Arial" panose="020B0604020202020204" pitchFamily="34" charset="0"/>
              </a:rPr>
              <a:t>Krótkie podsumowanie informacji o dawkowaniu, rozcieńczaniu i przechowywaniu</a:t>
            </a:r>
            <a:endParaRPr lang="en-US" sz="2000" i="1" dirty="0">
              <a:solidFill>
                <a:srgbClr val="FE9E2C"/>
              </a:solidFill>
            </a:endParaRPr>
          </a:p>
        </p:txBody>
      </p:sp>
      <p:sp>
        <p:nvSpPr>
          <p:cNvPr id="25" name="Prostokąt: zaokrąglone rogi 24">
            <a:extLst>
              <a:ext uri="{FF2B5EF4-FFF2-40B4-BE49-F238E27FC236}">
                <a16:creationId xmlns:a16="http://schemas.microsoft.com/office/drawing/2014/main" id="{E8CA3B15-56C3-4D33-89CD-3F090F62A78B}"/>
              </a:ext>
            </a:extLst>
          </p:cNvPr>
          <p:cNvSpPr/>
          <p:nvPr/>
        </p:nvSpPr>
        <p:spPr>
          <a:xfrm>
            <a:off x="1228227" y="5942698"/>
            <a:ext cx="9325474" cy="896252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049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GtpY7tsKxLv1Uiqe1qX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2YniPDGc7hsQQVGQB3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CxEUCaxViVE2GfixI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-CMR-GLB-0081 Comirnaty PoU Deck for Site Training and Education-V56-03142022" id="{9CEC9943-7E9C-BB4E-A47B-2F600327793F}" vid="{A232C66C-E550-9542-B625-531AF79489A2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-CMR-GLB-0081 Comirnaty PoU Deck for Site Training and Education-V56-03142022" id="{9CEC9943-7E9C-BB4E-A47B-2F600327793F}" vid="{83B8C075-8896-7641-8330-BC4F4C87586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3A96BF746F754CB6CD55F3CDD6495E" ma:contentTypeVersion="15" ma:contentTypeDescription="Create a new document." ma:contentTypeScope="" ma:versionID="b0bde9887e691f17d4229771d9179b5c">
  <xsd:schema xmlns:xsd="http://www.w3.org/2001/XMLSchema" xmlns:xs="http://www.w3.org/2001/XMLSchema" xmlns:p="http://schemas.microsoft.com/office/2006/metadata/properties" xmlns:ns2="c34c58ca-879d-42ef-bfee-4e3bdc0f944a" xmlns:ns3="f81df575-097a-4add-a00d-b9106da26670" targetNamespace="http://schemas.microsoft.com/office/2006/metadata/properties" ma:root="true" ma:fieldsID="93ace113b4fc5067bdfc5c32b7a8d25c" ns2:_="" ns3:_="">
    <xsd:import namespace="c34c58ca-879d-42ef-bfee-4e3bdc0f944a"/>
    <xsd:import namespace="f81df575-097a-4add-a00d-b9106da266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4c58ca-879d-42ef-bfee-4e3bdc0f94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f9dd247-5f48-452a-8dc4-ff9a39258e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1df575-097a-4add-a00d-b9106da2667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b8b1600-f295-4f23-98a8-b143c5163409}" ma:internalName="TaxCatchAll" ma:showField="CatchAllData" ma:web="f81df575-097a-4add-a00d-b9106da266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c34c58ca-879d-42ef-bfee-4e3bdc0f944a" xsi:nil="true"/>
    <TaxCatchAll xmlns="f81df575-097a-4add-a00d-b9106da26670" xsi:nil="true"/>
    <lcf76f155ced4ddcb4097134ff3c332f xmlns="c34c58ca-879d-42ef-bfee-4e3bdc0f944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DDBCC53-35F7-4E1F-9C3D-B065C7D327E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78FEC5-A3D4-4BA7-B66C-06471E9224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4c58ca-879d-42ef-bfee-4e3bdc0f944a"/>
    <ds:schemaRef ds:uri="f81df575-097a-4add-a00d-b9106da266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4033E7A-40D6-4DFC-B6D0-253F31392720}">
  <ds:schemaRefs>
    <ds:schemaRef ds:uri="http://schemas.microsoft.com/office/2006/metadata/properties"/>
    <ds:schemaRef ds:uri="ec60a94b-743c-47a6-bcd4-7b44a3df76ad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9724ae96-6068-4fd8-89fa-76b08668ff83"/>
    <ds:schemaRef ds:uri="http://purl.org/dc/dcmitype/"/>
    <ds:schemaRef ds:uri="http://purl.org/dc/terms/"/>
    <ds:schemaRef ds:uri="c34c58ca-879d-42ef-bfee-4e3bdc0f944a"/>
    <ds:schemaRef ds:uri="f81df575-097a-4add-a00d-b9106da2667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Custom Design</Template>
  <TotalTime>25144</TotalTime>
  <Words>3706</Words>
  <Application>Microsoft Office PowerPoint</Application>
  <PresentationFormat>Panoramiczny</PresentationFormat>
  <Paragraphs>331</Paragraphs>
  <Slides>33</Slides>
  <Notes>19</Notes>
  <HiddenSlides>0</HiddenSlides>
  <MMClips>0</MMClips>
  <ScaleCrop>false</ScaleCrop>
  <HeadingPairs>
    <vt:vector size="8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33</vt:i4>
      </vt:variant>
    </vt:vector>
  </HeadingPairs>
  <TitlesOfParts>
    <vt:vector size="44" baseType="lpstr">
      <vt:lpstr>Arial</vt:lpstr>
      <vt:lpstr>Arial Narrow</vt:lpstr>
      <vt:lpstr>Calibri</vt:lpstr>
      <vt:lpstr>Calibri Light</vt:lpstr>
      <vt:lpstr>Cambria Math</vt:lpstr>
      <vt:lpstr>Courier New</vt:lpstr>
      <vt:lpstr>Times New Roman</vt:lpstr>
      <vt:lpstr>Verdana</vt:lpstr>
      <vt:lpstr>1_Custom Design</vt:lpstr>
      <vt:lpstr>Custom Design</vt:lpstr>
      <vt:lpstr>think-cell Slide</vt:lpstr>
      <vt:lpstr>Comirnaty 3 mikrogramy/dawkę koncentrat do sporządzania dyspersji do wstrzykiwań do stosowania u dzieci w wieku od 6 miesięcy do 4 lat  Przechowywanie, przygotowanie i podawanie produktu leczniczego</vt:lpstr>
      <vt:lpstr>Prezentacja programu PowerPoint</vt:lpstr>
      <vt:lpstr>Produkt leczniczy Comirnaty 3 mikrogramy/dawkę koncentrat do sporządzania dyspersji do wstrzykiwań</vt:lpstr>
      <vt:lpstr>Produkt leczniczy Comirnaty 3 mikrogramy/dawkę koncentrat do sporządzania dyspersji do wstrzykiwań</vt:lpstr>
      <vt:lpstr>Przechowywanie</vt:lpstr>
      <vt:lpstr>Przechowywanie szczepionki Comirnaty 3 mikrogramy/dawkę : Stosowanie u dzieci od 6  miesięcy do 4 lat </vt:lpstr>
      <vt:lpstr>Przechowywanie szczepionki Comirnaty 3 mikrogramy/dawkę: Stosowanie u dzieci od 6  miesięcy do 4 lat</vt:lpstr>
      <vt:lpstr>Przygotowania produktu leczniczego do stosowania</vt:lpstr>
      <vt:lpstr>COMIRNATY szczepionka mRNA przeciw COVID-19 (ze zmodyfikowanymi nukleozydami) – przewodnik po postaciach farmaceutycznych: Krótkie podsumowanie informacji o dawkowaniu, rozcieńczaniu i przechowywaniu</vt:lpstr>
      <vt:lpstr>Szczepionka Comirnaty 3 mikrogramy/dawkę  Przygotowanie produktu do podania</vt:lpstr>
      <vt:lpstr>Szczepionka Comirnaty 3 mikrogramy/dawkę  Przygotowanie produktu do podania</vt:lpstr>
      <vt:lpstr>Prezentacja programu PowerPoint</vt:lpstr>
      <vt:lpstr>Prezentacja programu PowerPoint</vt:lpstr>
      <vt:lpstr>Prezentacja programu PowerPoint</vt:lpstr>
      <vt:lpstr>Szczepionka Comirnaty 3 mikrogramy/dawkę  Instrukcja przygotowania produktu leczniczego do stosowania </vt:lpstr>
      <vt:lpstr>Prezentacja programu PowerPoint</vt:lpstr>
      <vt:lpstr>Prezentacja programu PowerPoint</vt:lpstr>
      <vt:lpstr>Prezentacja programu PowerPoint</vt:lpstr>
      <vt:lpstr>Szczepionka Comirnaty 3 mikrogramy/dawkę  Sposób podawania produktu leczniczego</vt:lpstr>
      <vt:lpstr>Szczepionka Comirnaty 3 mikrogramy/dawkę  Schemat podawania produktu leczniczego</vt:lpstr>
      <vt:lpstr>Szczepionka Comirnaty 3 mikrogramy/dawkę  Schemat podawania produktu leczniczego</vt:lpstr>
      <vt:lpstr>Podanie domięśniowe szczepionek u dzieci w wieku od 6 miesięcy do 4 lat</vt:lpstr>
      <vt:lpstr>Podanie domięśniowe szczepionek u dzieci w wieku od 6 miesięcy do 4 lat</vt:lpstr>
      <vt:lpstr>Podanie domięśniowe szczepionki w przednio-boczną okolicę uda u niemowląt Opis zabiegu</vt:lpstr>
      <vt:lpstr>Podanie domięśniowe szczepionki w przednio-boczną okolicę uda u niemowląt Opis zabiegu</vt:lpstr>
      <vt:lpstr>Podanie domięśniowe szczepionki w przednio-boczną okolicę uda u niemowląt</vt:lpstr>
      <vt:lpstr>Podanie domięśniowe szczepionki w przednio-boczną okolicę uda u niemowląt</vt:lpstr>
      <vt:lpstr>Karta przypominająca o kolejnej dawce szczepienia</vt:lpstr>
      <vt:lpstr>Informacje na temat szczepionki Comirnaty</vt:lpstr>
      <vt:lpstr>Strona internetowa Comirnaty</vt:lpstr>
      <vt:lpstr>Aktualizacja www.comirnatyeducation.pl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int-of-Use Training</dc:title>
  <dc:creator>Andrew Dickerson</dc:creator>
  <cp:lastModifiedBy>Sot, Urszula</cp:lastModifiedBy>
  <cp:revision>683</cp:revision>
  <cp:lastPrinted>2022-11-09T17:40:56Z</cp:lastPrinted>
  <dcterms:created xsi:type="dcterms:W3CDTF">2022-03-30T19:18:51Z</dcterms:created>
  <dcterms:modified xsi:type="dcterms:W3CDTF">2022-12-08T19:0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3A96BF746F754CB6CD55F3CDD6495E</vt:lpwstr>
  </property>
  <property fmtid="{D5CDD505-2E9C-101B-9397-08002B2CF9AE}" pid="3" name="Order">
    <vt:lpwstr>128500.000000000</vt:lpwstr>
  </property>
  <property fmtid="{D5CDD505-2E9C-101B-9397-08002B2CF9AE}" pid="4" name="xd_Signature">
    <vt:lpwstr/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MediaServiceImageTags">
    <vt:lpwstr/>
  </property>
</Properties>
</file>